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tags/tag1.xml" ContentType="application/vnd.openxmlformats-officedocument.presentationml.tags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Ex2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charts/chartEx3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charts/chartEx4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Ex5.xml" ContentType="application/vnd.ms-office.chartex+xml"/>
  <Override PartName="/ppt/charts/style7.xml" ContentType="application/vnd.ms-office.chartstyle+xml"/>
  <Override PartName="/ppt/charts/colors7.xml" ContentType="application/vnd.ms-office.chartcolorstyle+xml"/>
  <Override PartName="/ppt/charts/chartEx6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1" r:id="rId4"/>
    <p:sldId id="260" r:id="rId5"/>
    <p:sldId id="270" r:id="rId6"/>
    <p:sldId id="275" r:id="rId7"/>
    <p:sldId id="263" r:id="rId8"/>
    <p:sldId id="308" r:id="rId9"/>
    <p:sldId id="262" r:id="rId10"/>
    <p:sldId id="264" r:id="rId11"/>
    <p:sldId id="309" r:id="rId12"/>
    <p:sldId id="265" r:id="rId13"/>
    <p:sldId id="310" r:id="rId14"/>
    <p:sldId id="266" r:id="rId15"/>
    <p:sldId id="267" r:id="rId16"/>
    <p:sldId id="268" r:id="rId17"/>
    <p:sldId id="269" r:id="rId18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6D52"/>
    <a:srgbClr val="AFA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266" autoAdjust="0"/>
    <p:restoredTop sz="96327" autoAdjust="0"/>
  </p:normalViewPr>
  <p:slideViewPr>
    <p:cSldViewPr snapToGrid="0">
      <p:cViewPr varScale="1">
        <p:scale>
          <a:sx n="170" d="100"/>
          <a:sy n="170" d="100"/>
        </p:scale>
        <p:origin x="2000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mpitroda/Desktop/Kinjal%20Pitroda/23-24/Q3%2023-24/PPT/PPT%20(1)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mpitroda/Desktop/Kinjal%20Pitroda/23-24/Q3%2023-24/PPT/PPT%20(1)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/Users/kmpitroda/Desktop/Kinjal%20Pitroda/23-24/Q3%2023-24/PPT/ALL%20IN-EXPENDITURE%20Q-3%20(8)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file:////Users/kmpitroda/Desktop/Kinjal%20Pitroda/23-24/Q3%2023-24/PPT/ALL%20IN-EXPENDITURE%20Q-3%20(8)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file:////Users/kmpitroda/Desktop/Kinjal%20Pitroda/23-24/Q3%2023-24/PPT/ALL%20IN-EXPENDITURE%20Q-3%20(8).xlsx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oleObject" Target="file:////Users/kmpitroda/Desktop/Kinjal%20Pitroda/23-24/Q3%2023-24/PPT/ALL%20IN-EXPENDITURE%20Q-3%20(8).xlsx" TargetMode="External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oleObject" Target="file:////Users/kmpitroda/Desktop/Kinjal%20Pitroda/23-24/Q3%2023-24/PPT/ALL%20IN-EXPENDITURE%20Q-3%20(8).xlsx" TargetMode="External"/></Relationships>
</file>

<file path=ppt/charts/_rels/chartEx6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oleObject" Target="file:////Users/kmpitroda/Desktop/Kinjal%20Pitroda/23-24/Q3%2023-24/PPT/ALL%20IN-EXPENDITURE%20Q-3%20(8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914260717410323E-2"/>
          <c:y val="9.3567267129189474E-2"/>
          <c:w val="0.87753018372703417"/>
          <c:h val="0.75726360283541638"/>
        </c:manualLayout>
      </c:layout>
      <c:lineChart>
        <c:grouping val="standard"/>
        <c:varyColors val="0"/>
        <c:ser>
          <c:idx val="0"/>
          <c:order val="0"/>
          <c:tx>
            <c:strRef>
              <c:f>'Five year data'!$C$4</c:f>
              <c:strCache>
                <c:ptCount val="1"/>
                <c:pt idx="0">
                  <c:v>Revenue from Operations Nine Month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713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A28-3D44-981D-BDE595BABC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ve year data'!$B$5:$B$9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'Five year data'!$C$5:$C$9</c:f>
              <c:numCache>
                <c:formatCode>0</c:formatCode>
                <c:ptCount val="5"/>
                <c:pt idx="0">
                  <c:v>1108.9272000000001</c:v>
                </c:pt>
                <c:pt idx="1">
                  <c:v>773.43100000000004</c:v>
                </c:pt>
                <c:pt idx="2">
                  <c:v>1674.7994000000001</c:v>
                </c:pt>
                <c:pt idx="3">
                  <c:v>2549.692</c:v>
                </c:pt>
                <c:pt idx="4">
                  <c:v>1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4A-CE40-A67D-8450B6A025E9}"/>
            </c:ext>
          </c:extLst>
        </c:ser>
        <c:ser>
          <c:idx val="1"/>
          <c:order val="1"/>
          <c:tx>
            <c:strRef>
              <c:f>'Five year data'!$D$4</c:f>
              <c:strCache>
                <c:ptCount val="1"/>
                <c:pt idx="0">
                  <c:v>Profit Before Tax Nine Month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ve year data'!$B$5:$B$9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'Five year data'!$D$5:$D$9</c:f>
              <c:numCache>
                <c:formatCode>0</c:formatCode>
                <c:ptCount val="5"/>
                <c:pt idx="0">
                  <c:v>198.60389999999998</c:v>
                </c:pt>
                <c:pt idx="1">
                  <c:v>1.2544700000000699</c:v>
                </c:pt>
                <c:pt idx="2">
                  <c:v>313.16309999999999</c:v>
                </c:pt>
                <c:pt idx="3">
                  <c:v>1039.8191999999999</c:v>
                </c:pt>
                <c:pt idx="4">
                  <c:v>5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4A-CE40-A67D-8450B6A025E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947130296"/>
        <c:axId val="947131016"/>
      </c:lineChart>
      <c:catAx>
        <c:axId val="947130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7131016"/>
        <c:crosses val="autoZero"/>
        <c:auto val="1"/>
        <c:lblAlgn val="ctr"/>
        <c:lblOffset val="100"/>
        <c:noMultiLvlLbl val="0"/>
      </c:catAx>
      <c:valAx>
        <c:axId val="947131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7130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942344706911635"/>
          <c:y val="0.93585810864551022"/>
          <c:w val="0.76115288713910756"/>
          <c:h val="6.01014873140857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02537182852145"/>
          <c:y val="0.14294036162146395"/>
          <c:w val="0.84575240594925638"/>
          <c:h val="0.64714421114027409"/>
        </c:manualLayout>
      </c:layout>
      <c:lineChart>
        <c:grouping val="standard"/>
        <c:varyColors val="0"/>
        <c:ser>
          <c:idx val="0"/>
          <c:order val="0"/>
          <c:tx>
            <c:strRef>
              <c:f>'Five year data'!$C$21</c:f>
              <c:strCache>
                <c:ptCount val="1"/>
                <c:pt idx="0">
                  <c:v>Revenue from Operations Q-3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8899755501222494E-3"/>
                  <c:y val="-4.02234636871508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D9C-3A44-A2B3-5F8E39D58F17}"/>
                </c:ext>
              </c:extLst>
            </c:dLbl>
            <c:dLbl>
              <c:idx val="1"/>
              <c:layout>
                <c:manualLayout>
                  <c:x val="-3.6674816625916914E-2"/>
                  <c:y val="-8.93854748603352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D9C-3A44-A2B3-5F8E39D58F17}"/>
                </c:ext>
              </c:extLst>
            </c:dLbl>
            <c:dLbl>
              <c:idx val="2"/>
              <c:layout>
                <c:manualLayout>
                  <c:x val="-9.7799511002444987E-3"/>
                  <c:y val="-6.70391061452514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D9C-3A44-A2B3-5F8E39D58F17}"/>
                </c:ext>
              </c:extLst>
            </c:dLbl>
            <c:dLbl>
              <c:idx val="3"/>
              <c:layout>
                <c:manualLayout>
                  <c:x val="2.4449877750609456E-3"/>
                  <c:y val="-2.68156424581005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D9C-3A44-A2B3-5F8E39D58F17}"/>
                </c:ext>
              </c:extLst>
            </c:dLbl>
            <c:dLbl>
              <c:idx val="4"/>
              <c:layout>
                <c:manualLayout>
                  <c:x val="-3.4229828850855744E-2"/>
                  <c:y val="-6.25698324022346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6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ED9C-3A44-A2B3-5F8E39D58F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ve year data'!$B$22:$B$26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'Five year data'!$C$22:$C$26</c:f>
              <c:numCache>
                <c:formatCode>0</c:formatCode>
                <c:ptCount val="5"/>
                <c:pt idx="0">
                  <c:v>339.66149999999999</c:v>
                </c:pt>
                <c:pt idx="1">
                  <c:v>329.26249999999999</c:v>
                </c:pt>
                <c:pt idx="2">
                  <c:v>724.58019999999999</c:v>
                </c:pt>
                <c:pt idx="3">
                  <c:v>855.41079999999999</c:v>
                </c:pt>
                <c:pt idx="4">
                  <c:v>6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D9C-3A44-A2B3-5F8E39D58F17}"/>
            </c:ext>
          </c:extLst>
        </c:ser>
        <c:ser>
          <c:idx val="1"/>
          <c:order val="1"/>
          <c:tx>
            <c:strRef>
              <c:f>'Five year data'!$D$21</c:f>
              <c:strCache>
                <c:ptCount val="1"/>
                <c:pt idx="0">
                  <c:v>Profit Before Tax Q-3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4449877750611247E-3"/>
                  <c:y val="-4.46927374301675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D9C-3A44-A2B3-5F8E39D58F17}"/>
                </c:ext>
              </c:extLst>
            </c:dLbl>
            <c:dLbl>
              <c:idx val="1"/>
              <c:layout>
                <c:manualLayout>
                  <c:x val="-2.2004889975550123E-2"/>
                  <c:y val="-8.49162011173184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D9C-3A44-A2B3-5F8E39D58F17}"/>
                </c:ext>
              </c:extLst>
            </c:dLbl>
            <c:dLbl>
              <c:idx val="2"/>
              <c:layout>
                <c:manualLayout>
                  <c:x val="-1.9559902200488997E-2"/>
                  <c:y val="-6.25698324022347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D9C-3A44-A2B3-5F8E39D58F17}"/>
                </c:ext>
              </c:extLst>
            </c:dLbl>
            <c:dLbl>
              <c:idx val="3"/>
              <c:layout>
                <c:manualLayout>
                  <c:x val="-4.1564792176039207E-2"/>
                  <c:y val="-5.81005586592178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D9C-3A44-A2B3-5F8E39D58F17}"/>
                </c:ext>
              </c:extLst>
            </c:dLbl>
            <c:dLbl>
              <c:idx val="4"/>
              <c:layout>
                <c:manualLayout>
                  <c:x val="-2.6894865525672371E-2"/>
                  <c:y val="-5.81005586592179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D9C-3A44-A2B3-5F8E39D58F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ve year data'!$B$22:$B$26</c:f>
              <c:strCache>
                <c:ptCount val="5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</c:strCache>
            </c:strRef>
          </c:cat>
          <c:val>
            <c:numRef>
              <c:f>'Five year data'!$D$22:$D$26</c:f>
              <c:numCache>
                <c:formatCode>#,##0_);[Red]\(#,##0\)</c:formatCode>
                <c:ptCount val="5"/>
                <c:pt idx="0" formatCode="General">
                  <c:v>30</c:v>
                </c:pt>
                <c:pt idx="1">
                  <c:v>-21</c:v>
                </c:pt>
                <c:pt idx="2" formatCode="General">
                  <c:v>219</c:v>
                </c:pt>
                <c:pt idx="3" formatCode="General">
                  <c:v>369</c:v>
                </c:pt>
                <c:pt idx="4" formatCode="General">
                  <c:v>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ED9C-3A44-A2B3-5F8E39D58F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0474160"/>
        <c:axId val="590474520"/>
      </c:lineChart>
      <c:catAx>
        <c:axId val="590474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0474520"/>
        <c:crosses val="autoZero"/>
        <c:auto val="1"/>
        <c:lblAlgn val="ctr"/>
        <c:lblOffset val="100"/>
        <c:noMultiLvlLbl val="0"/>
      </c:catAx>
      <c:valAx>
        <c:axId val="590474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0474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FINA-RESU'!$N$4:$N$13</cx:f>
        <cx:lvl ptCount="10">
          <cx:pt idx="0">Gross Sales</cx:pt>
          <cx:pt idx="1">Less :- Cash Discount</cx:pt>
          <cx:pt idx="2">Net Sales (Revenue from Operations)</cx:pt>
          <cx:pt idx="3">Other Income</cx:pt>
          <cx:pt idx="4">Total Revenue</cx:pt>
          <cx:pt idx="5">Fixed Expenses</cx:pt>
          <cx:pt idx="6">Variable Expenses</cx:pt>
          <cx:pt idx="7">EBITDA</cx:pt>
          <cx:pt idx="8">Depreciation</cx:pt>
          <cx:pt idx="9">Profit Before Tax</cx:pt>
        </cx:lvl>
      </cx:strDim>
      <cx:numDim type="val">
        <cx:f>'FINA-RESU'!$O$4:$O$13</cx:f>
        <cx:lvl ptCount="10" formatCode="_ * #,##0_ ;_ * \-#,##0_ ;_ * &quot;-&quot;??_ ;_ @_ ">
          <cx:pt idx="0">1716.1680123159999</cx:pt>
          <cx:pt idx="1">-4</cx:pt>
          <cx:pt idx="2">1712.605605962</cx:pt>
          <cx:pt idx="3">198.33979519299999</cx:pt>
          <cx:pt idx="4">1910.9454011550001</cx:pt>
          <cx:pt idx="5">-366</cx:pt>
          <cx:pt idx="6">-927</cx:pt>
          <cx:pt idx="7">617.58577475700008</cx:pt>
          <cx:pt idx="8">-58</cx:pt>
          <cx:pt idx="9">559.86627135900005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marL="0" marR="0" indent="0" algn="ctr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 spc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023-2024</a:t>
            </a:r>
            <a:endParaRPr lang="en-IN" dirty="0">
              <a:effectLst/>
            </a:endParaRPr>
          </a:p>
        </cx:rich>
      </cx:tx>
    </cx:title>
    <cx:plotArea>
      <cx:plotAreaRegion>
        <cx:plotSurface>
          <cx:spPr>
            <a:ln>
              <a:noFill/>
            </a:ln>
          </cx:spPr>
        </cx:plotSurface>
        <cx:series layoutId="waterfall" uniqueId="{98AC953A-AA4A-CD47-98AE-6D4678281A0A}">
          <cx:dataLabels pos="outEnd">
            <cx:visibility seriesName="0" categoryName="0" value="1"/>
          </cx:dataLabels>
          <cx:dataId val="0"/>
          <cx:layoutPr>
            <cx:subtotals>
              <cx:idx val="2"/>
              <cx:idx val="4"/>
              <cx:idx val="7"/>
              <cx:idx val="9"/>
            </cx:subtotals>
          </cx:layoutPr>
        </cx:series>
      </cx:plotAreaRegion>
      <cx:axis id="0">
        <cx:catScaling gapWidth="0.5"/>
        <cx:tickLabels/>
      </cx:axis>
      <cx:axis id="1">
        <cx:valScaling max="3000"/>
        <cx:majorGridlines/>
        <cx:tickLabels/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endParaRPr lang="en-GB" sz="9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Calibri"/>
          </a:endParaRPr>
        </a:p>
      </cx:txPr>
    </cx:legend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FINA-RESU'!$P$4:$P$13</cx:f>
        <cx:lvl ptCount="10">
          <cx:pt idx="0">Gross Sales</cx:pt>
          <cx:pt idx="1">Less :- Cash Discount</cx:pt>
          <cx:pt idx="2">Net Sales (Revenue from Operations)</cx:pt>
          <cx:pt idx="3">Other Income</cx:pt>
          <cx:pt idx="4">Total Revenue</cx:pt>
          <cx:pt idx="5">Fixed Expenses</cx:pt>
          <cx:pt idx="6">Variable Expenses</cx:pt>
          <cx:pt idx="7">EBITDA</cx:pt>
          <cx:pt idx="8">Depreciation</cx:pt>
          <cx:pt idx="9">Profit Before Tax</cx:pt>
        </cx:lvl>
      </cx:strDim>
      <cx:numDim type="val">
        <cx:f>'FINA-RESU'!$Q$4:$Q$13</cx:f>
        <cx:lvl ptCount="10" formatCode="General">
          <cx:pt idx="0">2554</cx:pt>
          <cx:pt idx="1">-4</cx:pt>
          <cx:pt idx="2">2550</cx:pt>
          <cx:pt idx="3">156</cx:pt>
          <cx:pt idx="4">2706</cx:pt>
          <cx:pt idx="5">-325</cx:pt>
          <cx:pt idx="6">-1280</cx:pt>
          <cx:pt idx="7">1101</cx:pt>
          <cx:pt idx="8">-61</cx:pt>
          <cx:pt idx="9">1040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marL="0" marR="0" indent="0" algn="ctr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 spc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2022-23</a:t>
            </a:r>
            <a:endParaRPr lang="en-IN" dirty="0">
              <a:effectLst/>
            </a:endParaRPr>
          </a:p>
        </cx:rich>
      </cx:tx>
    </cx:title>
    <cx:plotArea>
      <cx:plotAreaRegion>
        <cx:series layoutId="waterfall" uniqueId="{5487812D-82C8-4C45-8552-6F712A529F0B}">
          <cx:dataLabels pos="outEnd">
            <cx:visibility seriesName="0" categoryName="0" value="1"/>
          </cx:dataLabels>
          <cx:dataId val="0"/>
          <cx:layoutPr>
            <cx:subtotals>
              <cx:idx val="0"/>
              <cx:idx val="2"/>
              <cx:idx val="4"/>
              <cx:idx val="7"/>
              <cx:idx val="9"/>
            </cx:subtotals>
          </cx:layoutPr>
        </cx:series>
      </cx:plotAreaRegion>
      <cx:axis id="0">
        <cx:catScaling gapWidth="0.5"/>
        <cx:tickLabels/>
      </cx:axis>
      <cx:axis id="1">
        <cx:valScaling/>
        <cx:majorGridlines/>
        <cx:tickLabels/>
      </cx:axis>
    </cx:plotArea>
    <cx:legend pos="t" align="ctr" overlay="0"/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LIG-CONSU'!$R$4:$R$11</cx:f>
        <cx:lvl ptCount="8">
          <cx:pt idx="0">Mata No Madh*</cx:pt>
          <cx:pt idx="1">Rajpardi</cx:pt>
          <cx:pt idx="2">Tadkeshwar</cx:pt>
          <cx:pt idx="3">Bhavnagar</cx:pt>
          <cx:pt idx="4">Umarsar </cx:pt>
          <cx:pt idx="5">TOTAL - Lignite</cx:pt>
          <cx:pt idx="6">Bauxite</cx:pt>
          <cx:pt idx="7">Total </cx:pt>
        </cx:lvl>
      </cx:strDim>
      <cx:numDim type="val">
        <cx:f>'LIG-CONSU'!$U$4:$U$11</cx:f>
        <cx:lvl ptCount="8" formatCode="_ * #,##0_ ;_ * \-#,##0_ ;_ * &quot;-&quot;??_ ;_ @_ ">
          <cx:pt idx="0">883.16999999999996</cx:pt>
          <cx:pt idx="1">313.70999999999998</cx:pt>
          <cx:pt idx="2">316.29000000000002</cx:pt>
          <cx:pt idx="3">390.45999999999998</cx:pt>
          <cx:pt idx="4">451.66000000000003</cx:pt>
          <cx:pt idx="5">2355.29</cx:pt>
          <cx:pt idx="6">34.990000000000002</cx:pt>
          <cx:pt idx="7">2390.2799999999997</cx:pt>
        </cx:lvl>
      </cx:numDim>
    </cx:data>
  </cx:chartData>
  <cx:chart>
    <cx:title pos="t" align="ctr" overlay="0">
      <cx:tx>
        <cx:txData>
          <cx:v>2022-23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GB" sz="1400" b="0" i="0" u="none" strike="noStrike" baseline="0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rPr>
            <a:t>2022-23</a:t>
          </a:r>
        </a:p>
      </cx:txPr>
    </cx:title>
    <cx:plotArea>
      <cx:plotAreaRegion>
        <cx:series layoutId="waterfall" uniqueId="{1A59ED59-A398-BE4C-A10A-E8A9635601C2}">
          <cx:dataPt idx="5"/>
          <cx:dataPt idx="7"/>
          <cx:dataLabels pos="outEnd">
            <cx:visibility seriesName="0" categoryName="0" value="1"/>
          </cx:dataLabels>
          <cx:dataId val="0"/>
          <cx:layoutPr>
            <cx:subtotals>
              <cx:idx val="5"/>
              <cx:idx val="7"/>
            </cx:subtotals>
          </cx:layoutPr>
        </cx:series>
      </cx:plotAreaRegion>
      <cx:axis id="0">
        <cx:catScaling gapWidth="0.5"/>
        <cx:tickLabels/>
        <cx:spPr>
          <a:effectLst>
            <a:outerShdw blurRad="50800" dist="50800" dir="5400000" sx="140969" sy="140969" algn="ctr" rotWithShape="0">
              <a:srgbClr val="000000">
                <a:alpha val="43137"/>
              </a:srgbClr>
            </a:outerShdw>
          </a:effectLst>
        </cx:spPr>
      </cx:axis>
      <cx:axis id="1">
        <cx:valScaling/>
        <cx:majorGridlines/>
        <cx:tickLabels/>
      </cx:axis>
    </cx:plotArea>
    <cx:legend pos="t" align="ctr" overlay="0"/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LIG-CONSU'!$R$4:$R$11</cx:f>
        <cx:lvl ptCount="8">
          <cx:pt idx="0">Mata No Madh*</cx:pt>
          <cx:pt idx="1">Rajpardi</cx:pt>
          <cx:pt idx="2">Tadkeshwar</cx:pt>
          <cx:pt idx="3">Bhavnagar</cx:pt>
          <cx:pt idx="4">Umarsar </cx:pt>
          <cx:pt idx="5">TOTAL - Lignite</cx:pt>
          <cx:pt idx="6">Bauxite</cx:pt>
          <cx:pt idx="7">Total </cx:pt>
        </cx:lvl>
      </cx:strDim>
      <cx:numDim type="val">
        <cx:f>'LIG-CONSU'!$S$4:$S$11</cx:f>
        <cx:lvl ptCount="8" formatCode="_ * #,##0_ ;_ * \-#,##0_ ;_ * &quot;-&quot;??_ ;_ @_ ">
          <cx:pt idx="0">761.88745509299997</cx:pt>
          <cx:pt idx="1">128.11861795600001</cx:pt>
          <cx:pt idx="2">0.53952828600000002</cx:pt>
          <cx:pt idx="3">299.59371383600001</cx:pt>
          <cx:pt idx="4">351.64295526499996</cx:pt>
          <cx:pt idx="5">1541.7822704359999</cx:pt>
          <cx:pt idx="6">53.952975887999997</cx:pt>
          <cx:pt idx="7">1595.7352463239999</cx:pt>
        </cx:lvl>
      </cx:numDim>
    </cx:data>
  </cx:chartData>
  <cx:chart>
    <cx:title pos="t" align="ctr" overlay="0">
      <cx:tx>
        <cx:txData>
          <cx:v>2023-24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GB" sz="1400" b="0" i="0" u="none" strike="noStrike" baseline="0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rPr>
            <a:t>2023-24</a:t>
          </a:r>
        </a:p>
      </cx:txPr>
    </cx:title>
    <cx:plotArea>
      <cx:plotAreaRegion>
        <cx:plotSurface>
          <cx:spPr>
            <a:ln w="6350">
              <a:solidFill>
                <a:schemeClr val="accent1">
                  <a:shade val="15000"/>
                </a:schemeClr>
              </a:solidFill>
            </a:ln>
          </cx:spPr>
        </cx:plotSurface>
        <cx:series layoutId="waterfall" uniqueId="{066B3978-D30A-9248-914F-EB12719624D2}">
          <cx:dataPt idx="5"/>
          <cx:dataPt idx="7"/>
          <cx:dataLabels pos="outEnd">
            <cx:visibility seriesName="0" categoryName="0" value="1"/>
          </cx:dataLabels>
          <cx:dataId val="0"/>
          <cx:layoutPr>
            <cx:subtotals>
              <cx:idx val="5"/>
              <cx:idx val="7"/>
            </cx:subtotals>
          </cx:layoutPr>
        </cx:series>
      </cx:plotAreaRegion>
      <cx:axis id="0">
        <cx:catScaling gapWidth="0.5"/>
        <cx:tickLabels/>
      </cx:axis>
      <cx:axis id="1">
        <cx:valScaling max="3000"/>
        <cx:majorGridlines/>
        <cx:tickLabels/>
      </cx:axis>
    </cx:plotArea>
    <cx:legend pos="t" align="ctr" overlay="0"/>
  </cx:chart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ANNUAL PROD'!$AB$4:$AB$7</cx:f>
        <cx:lvl ptCount="4">
          <cx:pt idx="0">Thermal Power Project</cx:pt>
          <cx:pt idx="1">Wind Projects</cx:pt>
          <cx:pt idx="2">Solar Project</cx:pt>
          <cx:pt idx="3">Total</cx:pt>
        </cx:lvl>
      </cx:strDim>
      <cx:numDim type="val">
        <cx:f>'ANNUAL PROD'!$AC$4:$AC$7</cx:f>
        <cx:lvl ptCount="4" formatCode="_ * #,##0_ ;_ * \-#,##0_ ;_ * &quot;-&quot;??_ ;_ @_ ">
          <cx:pt idx="0">369.61000000000001</cx:pt>
          <cx:pt idx="1">266.17186299999997</cx:pt>
          <cx:pt idx="2">4.9577990000000005</cx:pt>
          <cx:pt idx="3">640.73966199999995</cx:pt>
        </cx:lvl>
      </cx:numDim>
    </cx:data>
  </cx:chartData>
  <cx:chart>
    <cx:title pos="t" align="ctr" overlay="0">
      <cx:tx>
        <cx:txData>
          <cx:v>2023-24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GB" sz="1400" b="0" i="0" u="none" strike="noStrike" baseline="0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rPr>
            <a:t>2023-24</a:t>
          </a:r>
        </a:p>
      </cx:txPr>
    </cx:title>
    <cx:plotArea>
      <cx:plotAreaRegion>
        <cx:series layoutId="waterfall" uniqueId="{8858F074-B408-FF4B-B165-01D2DED94CC8}">
          <cx:dataLabels pos="outEnd">
            <cx:visibility seriesName="0" categoryName="0" value="1"/>
          </cx:dataLabels>
          <cx:dataId val="0"/>
          <cx:layoutPr>
            <cx:subtotals>
              <cx:idx val="3"/>
            </cx:subtotals>
          </cx:layoutPr>
        </cx:series>
      </cx:plotAreaRegion>
      <cx:axis id="0">
        <cx:catScaling gapWidth="0.5"/>
        <cx:tickLabels/>
      </cx:axis>
      <cx:axis id="1">
        <cx:valScaling max="1000"/>
        <cx:majorGridlines/>
        <cx:tickLabels/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endParaRPr lang="en-GB" sz="9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Calibri"/>
          </a:endParaRPr>
        </a:p>
      </cx:txPr>
    </cx:legend>
  </cx:chart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ANNUAL PROD'!$AB$4:$AB$7</cx:f>
        <cx:lvl ptCount="4">
          <cx:pt idx="0">Thermal Power Project</cx:pt>
          <cx:pt idx="1">Wind Projects</cx:pt>
          <cx:pt idx="2">Solar Project</cx:pt>
          <cx:pt idx="3">Total</cx:pt>
        </cx:lvl>
      </cx:strDim>
      <cx:numDim type="val">
        <cx:f>'ANNUAL PROD'!$AD$4:$AD$7</cx:f>
        <cx:lvl ptCount="4" formatCode="_ * #,##0_ ;_ * \-#,##0_ ;_ * &quot;-&quot;??_ ;_ @_ ">
          <cx:pt idx="0">613.39999999999998</cx:pt>
          <cx:pt idx="1">255</cx:pt>
          <cx:pt idx="2">4.96</cx:pt>
          <cx:pt idx="3">873.36000000000001</cx:pt>
        </cx:lvl>
      </cx:numDim>
    </cx:data>
  </cx:chartData>
  <cx:chart>
    <cx:title pos="t" align="ctr" overlay="0">
      <cx:tx>
        <cx:txData>
          <cx:v>2022-23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GB" sz="1400" b="0" i="0" u="none" strike="noStrike" baseline="0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rPr>
            <a:t>2022-23</a:t>
          </a:r>
        </a:p>
      </cx:txPr>
    </cx:title>
    <cx:plotArea>
      <cx:plotAreaRegion>
        <cx:series layoutId="waterfall" uniqueId="{AFD5831D-2BFA-B747-9E7D-E4DFAEA67DDF}">
          <cx:dataLabels pos="outEnd">
            <cx:visibility seriesName="0" categoryName="0" value="1"/>
          </cx:dataLabels>
          <cx:dataId val="0"/>
          <cx:layoutPr>
            <cx:subtotals>
              <cx:idx val="3"/>
            </cx:subtotals>
          </cx:layoutPr>
        </cx:series>
      </cx:plotAreaRegion>
      <cx:axis id="0">
        <cx:catScaling gapWidth="0.5"/>
        <cx:tickLabels/>
      </cx:axis>
      <cx:axis id="1">
        <cx:valScaling/>
        <cx:majorGridlines/>
        <cx:tickLabels/>
      </cx:axis>
    </cx:plotArea>
    <cx:legend pos="t" align="ctr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104</cdr:x>
      <cdr:y>0</cdr:y>
    </cdr:from>
    <cdr:to>
      <cdr:x>0.98646</cdr:x>
      <cdr:y>0.0864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3710E56F-4FF0-3830-6CBF-AD8E8EE6C70F}"/>
            </a:ext>
          </a:extLst>
        </cdr:cNvPr>
        <cdr:cNvSpPr txBox="1"/>
      </cdr:nvSpPr>
      <cdr:spPr>
        <a:xfrm xmlns:a="http://schemas.openxmlformats.org/drawingml/2006/main">
          <a:off x="3662362" y="0"/>
          <a:ext cx="847726" cy="2582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n-US" sz="800"/>
            <a:t>Figures in Crore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6458</cdr:x>
      <cdr:y>0.04688</cdr:y>
    </cdr:from>
    <cdr:to>
      <cdr:x>0.97292</cdr:x>
      <cdr:y>0.11979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D72BE690-86CF-8B95-A383-277350A5CD98}"/>
            </a:ext>
          </a:extLst>
        </cdr:cNvPr>
        <cdr:cNvSpPr txBox="1"/>
      </cdr:nvSpPr>
      <cdr:spPr>
        <a:xfrm xmlns:a="http://schemas.openxmlformats.org/drawingml/2006/main">
          <a:off x="3495675" y="128588"/>
          <a:ext cx="952499" cy="2000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800"/>
            <a:t>Figures in Crore</a:t>
          </a: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1280393"/>
      </p:ext>
    </p:extLst>
  </p:cSld>
  <p:clrMapOvr>
    <a:masterClrMapping/>
  </p:clrMapOvr>
  <p:transition spd="slow">
    <p:cover dir="r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2F479E61-A9B4-FE32-3877-B4BDEBE42908}"/>
              </a:ext>
            </a:extLst>
          </p:cNvPr>
          <p:cNvGrpSpPr/>
          <p:nvPr userDrawn="1"/>
        </p:nvGrpSpPr>
        <p:grpSpPr>
          <a:xfrm>
            <a:off x="10483457" y="211521"/>
            <a:ext cx="1301773" cy="669628"/>
            <a:chOff x="5063558" y="3270605"/>
            <a:chExt cx="1544177" cy="79432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9989E0C-1EC8-7FB6-9A48-207BF2170E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8538" y="3270605"/>
              <a:ext cx="639197" cy="79432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701D33F-5247-3E31-B7ED-2BE803999C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3558" y="3287544"/>
              <a:ext cx="768098" cy="765050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267E222A-B951-65DA-00BE-BF0116DF377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8119" y="6517178"/>
            <a:ext cx="815755" cy="240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F196351-D006-602C-4BC5-366A722DAFAB}"/>
              </a:ext>
            </a:extLst>
          </p:cNvPr>
          <p:cNvSpPr txBox="1"/>
          <p:nvPr userDrawn="1"/>
        </p:nvSpPr>
        <p:spPr>
          <a:xfrm>
            <a:off x="9628216" y="6490454"/>
            <a:ext cx="1469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</a:rPr>
              <a:t>www.gmdcltd.co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17BC6C-BBAF-29F2-4ABB-F5C0017AA8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6" y="0"/>
            <a:ext cx="121829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938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ransition spd="slow">
    <p:cover dir="r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4/relationships/chartEx" Target="../charts/chartEx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microsoft.com/office/2014/relationships/chartEx" Target="../charts/chartEx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package" Target="../embeddings/Microsoft_Excel_Worksheet1.xlsx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microsoft.com/office/2014/relationships/chartEx" Target="../charts/chartEx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microsoft.com/office/2014/relationships/chartEx" Target="../charts/chartEx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package" Target="../embeddings/Microsoft_Excel_Worksheet2.xlsx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package" Target="../embeddings/Microsoft_Excel_Worksheet3.xlsx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1.bin"/><Relationship Id="rId7" Type="http://schemas.microsoft.com/office/2014/relationships/chartEx" Target="../charts/chartEx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microsoft.com/office/2014/relationships/chartEx" Target="../charts/chartEx1.xml"/><Relationship Id="rId4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1BBD60D-335B-E362-E7C4-FBC94C8C3F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357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37820E-ACA4-355C-A70A-311436A624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486" y="5980282"/>
            <a:ext cx="815755" cy="24060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23A69BA-816B-9B77-3BCC-770FB3C6EB53}"/>
              </a:ext>
            </a:extLst>
          </p:cNvPr>
          <p:cNvSpPr txBox="1"/>
          <p:nvPr/>
        </p:nvSpPr>
        <p:spPr>
          <a:xfrm>
            <a:off x="8241957" y="5928391"/>
            <a:ext cx="18411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www.gmdcltd.co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FA27426-7F54-3EAC-76ED-5277D5CD9E8F}"/>
              </a:ext>
            </a:extLst>
          </p:cNvPr>
          <p:cNvGrpSpPr/>
          <p:nvPr/>
        </p:nvGrpSpPr>
        <p:grpSpPr>
          <a:xfrm>
            <a:off x="1272746" y="1721875"/>
            <a:ext cx="8093676" cy="2907677"/>
            <a:chOff x="806535" y="1659731"/>
            <a:chExt cx="8099092" cy="2907677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71A40B4-C493-5133-484C-2D9AF881B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6535" y="1832294"/>
              <a:ext cx="1768886" cy="2198167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49EC86D-5DD5-8516-1315-515A6A530C8F}"/>
                </a:ext>
              </a:extLst>
            </p:cNvPr>
            <p:cNvSpPr txBox="1"/>
            <p:nvPr/>
          </p:nvSpPr>
          <p:spPr>
            <a:xfrm>
              <a:off x="2811025" y="1659731"/>
              <a:ext cx="6094602" cy="14219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IN" sz="4800" b="1" dirty="0">
                  <a:solidFill>
                    <a:srgbClr val="816D52"/>
                  </a:solidFill>
                </a:rPr>
                <a:t>Financial Results </a:t>
              </a:r>
            </a:p>
            <a:p>
              <a:pPr>
                <a:lnSpc>
                  <a:spcPct val="90000"/>
                </a:lnSpc>
              </a:pPr>
              <a:r>
                <a:rPr lang="en-IN" sz="4800" b="1" dirty="0">
                  <a:solidFill>
                    <a:srgbClr val="816D52"/>
                  </a:solidFill>
                </a:rPr>
                <a:t>Presentation 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58D02AF-5226-3D33-481F-8D8F86EF3896}"/>
                </a:ext>
              </a:extLst>
            </p:cNvPr>
            <p:cNvSpPr txBox="1"/>
            <p:nvPr/>
          </p:nvSpPr>
          <p:spPr>
            <a:xfrm>
              <a:off x="2831997" y="3182413"/>
              <a:ext cx="5282267" cy="13849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800" dirty="0"/>
                <a:t>Unaudited Financial Results (UFR) For the Nine Months / Quarter ended on 31st December, 2023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F14F020-40E9-AD92-4959-DF4E6F9722B0}"/>
                </a:ext>
              </a:extLst>
            </p:cNvPr>
            <p:cNvCxnSpPr>
              <a:cxnSpLocks/>
            </p:cNvCxnSpPr>
            <p:nvPr/>
          </p:nvCxnSpPr>
          <p:spPr>
            <a:xfrm>
              <a:off x="2934763" y="3123799"/>
              <a:ext cx="4238394" cy="0"/>
            </a:xfrm>
            <a:prstGeom prst="line">
              <a:avLst/>
            </a:prstGeom>
            <a:ln w="12700">
              <a:solidFill>
                <a:srgbClr val="816D5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1AC76C51-1624-7BBB-4947-0FD03E904345}"/>
              </a:ext>
            </a:extLst>
          </p:cNvPr>
          <p:cNvSpPr txBox="1"/>
          <p:nvPr/>
        </p:nvSpPr>
        <p:spPr>
          <a:xfrm>
            <a:off x="1149178" y="5725297"/>
            <a:ext cx="68580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 dirty="0">
                <a:solidFill>
                  <a:schemeClr val="bg1"/>
                </a:solidFill>
              </a:rPr>
              <a:t>Gujarat Mineral Development Corporation Ltd.</a:t>
            </a:r>
          </a:p>
          <a:p>
            <a:r>
              <a:rPr lang="en-IN" dirty="0">
                <a:solidFill>
                  <a:schemeClr val="bg1"/>
                </a:solidFill>
              </a:rPr>
              <a:t>(A Government of Gujarat Enterprise)</a:t>
            </a:r>
          </a:p>
        </p:txBody>
      </p:sp>
    </p:spTree>
    <p:extLst>
      <p:ext uri="{BB962C8B-B14F-4D97-AF65-F5344CB8AC3E}">
        <p14:creationId xmlns:p14="http://schemas.microsoft.com/office/powerpoint/2010/main" val="2956094619"/>
      </p:ext>
    </p:extLst>
  </p:cSld>
  <p:clrMapOvr>
    <a:masterClrMapping/>
  </p:clrMapOvr>
  <p:transition spd="slow">
    <p:cover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ECA29E8-C074-93A4-D93C-AE0A4DA66C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21CF8D-1538-616F-32EA-E97756DA880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00" r="35626"/>
          <a:stretch/>
        </p:blipFill>
        <p:spPr>
          <a:xfrm>
            <a:off x="1422050" y="1742183"/>
            <a:ext cx="763399" cy="78526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639FD3-CFCD-ADA4-B81B-58BE47C511F9}"/>
              </a:ext>
            </a:extLst>
          </p:cNvPr>
          <p:cNvSpPr txBox="1"/>
          <p:nvPr/>
        </p:nvSpPr>
        <p:spPr>
          <a:xfrm>
            <a:off x="1421026" y="2612025"/>
            <a:ext cx="6722077" cy="2234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6000" b="1" dirty="0">
                <a:solidFill>
                  <a:schemeClr val="bg1"/>
                </a:solidFill>
              </a:rPr>
              <a:t>Project-wise Sales Analysis</a:t>
            </a:r>
          </a:p>
        </p:txBody>
      </p:sp>
    </p:spTree>
    <p:extLst>
      <p:ext uri="{BB962C8B-B14F-4D97-AF65-F5344CB8AC3E}">
        <p14:creationId xmlns:p14="http://schemas.microsoft.com/office/powerpoint/2010/main" val="485264454"/>
      </p:ext>
    </p:extLst>
  </p:cSld>
  <p:clrMapOvr>
    <a:masterClrMapping/>
  </p:clrMapOvr>
  <p:transition spd="slow">
    <p:cover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" name="Chart 1">
                <a:extLst>
                  <a:ext uri="{FF2B5EF4-FFF2-40B4-BE49-F238E27FC236}">
                    <a16:creationId xmlns:a16="http://schemas.microsoft.com/office/drawing/2014/main" id="{4CC9D6A8-5A8A-7C7D-A0BE-73E5ABF1D9C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758833340"/>
                  </p:ext>
                </p:extLst>
              </p:nvPr>
            </p:nvGraphicFramePr>
            <p:xfrm>
              <a:off x="6460760" y="1756191"/>
              <a:ext cx="5181184" cy="372479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2" name="Chart 1">
                <a:extLst>
                  <a:ext uri="{FF2B5EF4-FFF2-40B4-BE49-F238E27FC236}">
                    <a16:creationId xmlns:a16="http://schemas.microsoft.com/office/drawing/2014/main" id="{4CC9D6A8-5A8A-7C7D-A0BE-73E5ABF1D9C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460760" y="1756191"/>
                <a:ext cx="5181184" cy="372479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20F381D1-21F0-5A64-EF3A-D2B638F24EC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79755188"/>
                  </p:ext>
                </p:extLst>
              </p:nvPr>
            </p:nvGraphicFramePr>
            <p:xfrm>
              <a:off x="500449" y="1756191"/>
              <a:ext cx="5462158" cy="3636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20F381D1-21F0-5A64-EF3A-D2B638F24EC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0449" y="1756191"/>
                <a:ext cx="5462158" cy="3636000"/>
              </a:xfrm>
              <a:prstGeom prst="rect">
                <a:avLst/>
              </a:prstGeom>
            </p:spPr>
          </p:pic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8B5A0AC6-9F07-C458-3FB5-101DCF5C06B1}"/>
              </a:ext>
            </a:extLst>
          </p:cNvPr>
          <p:cNvSpPr txBox="1"/>
          <p:nvPr/>
        </p:nvSpPr>
        <p:spPr>
          <a:xfrm>
            <a:off x="166116" y="837025"/>
            <a:ext cx="27723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MT in lakh)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9E4DF4-4DBE-E7F0-C628-39CEB33703A0}"/>
              </a:ext>
            </a:extLst>
          </p:cNvPr>
          <p:cNvSpPr/>
          <p:nvPr/>
        </p:nvSpPr>
        <p:spPr>
          <a:xfrm>
            <a:off x="861604" y="1268744"/>
            <a:ext cx="385376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22.9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597A12-7684-2079-EEEA-C41CFDEC0F75}"/>
              </a:ext>
            </a:extLst>
          </p:cNvPr>
          <p:cNvSpPr/>
          <p:nvPr/>
        </p:nvSpPr>
        <p:spPr>
          <a:xfrm>
            <a:off x="1453385" y="1268744"/>
            <a:ext cx="385376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000000"/>
                </a:solidFill>
                <a:latin typeface="Calibri"/>
              </a:rPr>
              <a:t>1.94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5F87C3-BF5A-F134-2CF3-F29D38AFB9BA}"/>
              </a:ext>
            </a:extLst>
          </p:cNvPr>
          <p:cNvSpPr/>
          <p:nvPr/>
        </p:nvSpPr>
        <p:spPr>
          <a:xfrm>
            <a:off x="2045166" y="1268744"/>
            <a:ext cx="385376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000000"/>
                </a:solidFill>
                <a:latin typeface="Calibri"/>
              </a:rPr>
              <a:t>0.01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E6F6AF8-AB26-BD85-DCE2-28036826712E}"/>
              </a:ext>
            </a:extLst>
          </p:cNvPr>
          <p:cNvSpPr/>
          <p:nvPr/>
        </p:nvSpPr>
        <p:spPr>
          <a:xfrm>
            <a:off x="2636947" y="1268744"/>
            <a:ext cx="385376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8.3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816D88-62CF-804E-6749-F67B878AEC81}"/>
              </a:ext>
            </a:extLst>
          </p:cNvPr>
          <p:cNvSpPr/>
          <p:nvPr/>
        </p:nvSpPr>
        <p:spPr>
          <a:xfrm>
            <a:off x="3228728" y="1268744"/>
            <a:ext cx="423914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.9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59351F-AC23-BE69-4C19-153826735532}"/>
              </a:ext>
            </a:extLst>
          </p:cNvPr>
          <p:cNvSpPr/>
          <p:nvPr/>
        </p:nvSpPr>
        <p:spPr>
          <a:xfrm>
            <a:off x="4489366" y="1268744"/>
            <a:ext cx="423914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2.1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DFFE189-22EA-CC32-F04F-9A9C76FF687E}"/>
              </a:ext>
            </a:extLst>
          </p:cNvPr>
          <p:cNvSpPr/>
          <p:nvPr/>
        </p:nvSpPr>
        <p:spPr>
          <a:xfrm>
            <a:off x="5119688" y="1268744"/>
            <a:ext cx="423914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000000"/>
                </a:solidFill>
                <a:latin typeface="Calibri"/>
              </a:rPr>
              <a:t>45.25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87B917-B573-0DD6-1A32-D51F2B3D2A52}"/>
              </a:ext>
            </a:extLst>
          </p:cNvPr>
          <p:cNvSpPr/>
          <p:nvPr/>
        </p:nvSpPr>
        <p:spPr>
          <a:xfrm>
            <a:off x="3859047" y="1268744"/>
            <a:ext cx="423914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000000"/>
                </a:solidFill>
                <a:latin typeface="Calibri"/>
              </a:rPr>
              <a:t>43.11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6124FCE-7DBB-A4CF-7108-47C3F7332190}"/>
              </a:ext>
            </a:extLst>
          </p:cNvPr>
          <p:cNvSpPr/>
          <p:nvPr/>
        </p:nvSpPr>
        <p:spPr>
          <a:xfrm>
            <a:off x="6819901" y="1268363"/>
            <a:ext cx="384175" cy="280988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rgbClr val="000000"/>
                </a:solidFill>
                <a:latin typeface="Calibri"/>
              </a:rPr>
              <a:t>25.1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9FCF85B-8D80-9F6E-6ABD-720973E7D10F}"/>
              </a:ext>
            </a:extLst>
          </p:cNvPr>
          <p:cNvSpPr/>
          <p:nvPr/>
        </p:nvSpPr>
        <p:spPr>
          <a:xfrm>
            <a:off x="7402514" y="1268363"/>
            <a:ext cx="384175" cy="280988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rgbClr val="000000"/>
                </a:solidFill>
                <a:latin typeface="Calibri"/>
              </a:rPr>
              <a:t>4.9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A7A9B5E-8F0C-23A9-1DEA-D1990F816401}"/>
              </a:ext>
            </a:extLst>
          </p:cNvPr>
          <p:cNvSpPr/>
          <p:nvPr/>
        </p:nvSpPr>
        <p:spPr>
          <a:xfrm>
            <a:off x="7983538" y="1268363"/>
            <a:ext cx="385763" cy="280988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rgbClr val="000000"/>
                </a:solidFill>
                <a:latin typeface="Calibri"/>
              </a:rPr>
              <a:t>6.0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5D38190-D429-0C90-7DB0-AA37D6F158B6}"/>
              </a:ext>
            </a:extLst>
          </p:cNvPr>
          <p:cNvSpPr/>
          <p:nvPr/>
        </p:nvSpPr>
        <p:spPr>
          <a:xfrm>
            <a:off x="8566150" y="1268363"/>
            <a:ext cx="385763" cy="280988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rgbClr val="000000"/>
                </a:solidFill>
                <a:latin typeface="Calibri"/>
              </a:rPr>
              <a:t>8.5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D9A6AA-A842-4B59-5D5B-5530D3C39AF4}"/>
              </a:ext>
            </a:extLst>
          </p:cNvPr>
          <p:cNvSpPr/>
          <p:nvPr/>
        </p:nvSpPr>
        <p:spPr>
          <a:xfrm>
            <a:off x="9148764" y="1268363"/>
            <a:ext cx="423863" cy="280988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rgbClr val="000000"/>
                </a:solidFill>
                <a:latin typeface="Calibri"/>
              </a:rPr>
              <a:t>11.26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804A98A-A3EC-15E6-6309-29D6C165F714}"/>
              </a:ext>
            </a:extLst>
          </p:cNvPr>
          <p:cNvSpPr/>
          <p:nvPr/>
        </p:nvSpPr>
        <p:spPr>
          <a:xfrm>
            <a:off x="10390189" y="1268363"/>
            <a:ext cx="423863" cy="280988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rgbClr val="000000"/>
                </a:solidFill>
                <a:latin typeface="Calibri"/>
              </a:rPr>
              <a:t>1.48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A1E05B7-514D-A433-74C3-882BCFB60086}"/>
              </a:ext>
            </a:extLst>
          </p:cNvPr>
          <p:cNvSpPr/>
          <p:nvPr/>
        </p:nvSpPr>
        <p:spPr>
          <a:xfrm>
            <a:off x="11010901" y="1268363"/>
            <a:ext cx="423863" cy="280988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rgbClr val="000000"/>
                </a:solidFill>
                <a:latin typeface="Calibri"/>
              </a:rPr>
              <a:t>57.26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072E046-A232-9DD6-47B4-734B80F8CEE7}"/>
              </a:ext>
            </a:extLst>
          </p:cNvPr>
          <p:cNvSpPr/>
          <p:nvPr/>
        </p:nvSpPr>
        <p:spPr>
          <a:xfrm>
            <a:off x="9769476" y="1268363"/>
            <a:ext cx="423863" cy="280988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rgbClr val="000000"/>
                </a:solidFill>
                <a:latin typeface="Calibri"/>
              </a:rPr>
              <a:t>55.78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A955A1D-0172-3517-65CB-F806261DB8A9}"/>
              </a:ext>
            </a:extLst>
          </p:cNvPr>
          <p:cNvSpPr txBox="1"/>
          <p:nvPr/>
        </p:nvSpPr>
        <p:spPr>
          <a:xfrm>
            <a:off x="6432835" y="855614"/>
            <a:ext cx="27723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MT in lakh)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280D95B-2715-840A-ACB4-69731DD07046}"/>
              </a:ext>
            </a:extLst>
          </p:cNvPr>
          <p:cNvSpPr/>
          <p:nvPr/>
        </p:nvSpPr>
        <p:spPr>
          <a:xfrm>
            <a:off x="1742303" y="1"/>
            <a:ext cx="81060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Project-wise Sales Analysis – Mining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(For the Nine Months ended 31</a:t>
            </a:r>
            <a:r>
              <a:rPr lang="en-US" sz="2400" b="1" baseline="30000" dirty="0">
                <a:solidFill>
                  <a:schemeClr val="bg1"/>
                </a:solidFill>
                <a:cs typeface="Calibri" pitchFamily="34" charset="0"/>
              </a:rPr>
              <a:t>st</a:t>
            </a: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 December, 2023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33AC83-0471-97C0-11BC-3EB3BFACB0D8}"/>
              </a:ext>
            </a:extLst>
          </p:cNvPr>
          <p:cNvSpPr/>
          <p:nvPr/>
        </p:nvSpPr>
        <p:spPr>
          <a:xfrm rot="16200000">
            <a:off x="16694" y="3288696"/>
            <a:ext cx="686902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000000"/>
                </a:solidFill>
                <a:latin typeface="Calibri"/>
              </a:rPr>
              <a:t>Rs. In Cr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C245A26-9966-9D4C-D0B1-B9D850972B14}"/>
              </a:ext>
            </a:extLst>
          </p:cNvPr>
          <p:cNvSpPr/>
          <p:nvPr/>
        </p:nvSpPr>
        <p:spPr>
          <a:xfrm rot="16200000">
            <a:off x="5977006" y="3288697"/>
            <a:ext cx="686902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000000"/>
                </a:solidFill>
                <a:latin typeface="Calibri"/>
              </a:rPr>
              <a:t>Rs. In Cr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2869128"/>
      </p:ext>
    </p:extLst>
  </p:cSld>
  <p:clrMapOvr>
    <a:masterClrMapping/>
  </p:clrMapOvr>
  <p:transition spd="slow">
    <p:cover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42303" y="1"/>
            <a:ext cx="81060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Project-wise Sales Analysis – Mining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(For the Nine Months ended 31</a:t>
            </a:r>
            <a:r>
              <a:rPr lang="en-US" sz="2400" b="1" baseline="30000" dirty="0">
                <a:solidFill>
                  <a:schemeClr val="bg1"/>
                </a:solidFill>
                <a:cs typeface="Calibri" pitchFamily="34" charset="0"/>
              </a:rPr>
              <a:t>st</a:t>
            </a: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 December, 2023)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F610D17E-94FC-ED95-C660-E2953E40ED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5981073"/>
              </p:ext>
            </p:extLst>
          </p:nvPr>
        </p:nvGraphicFramePr>
        <p:xfrm>
          <a:off x="1346200" y="1511528"/>
          <a:ext cx="7886700" cy="4854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5384800" imgH="3314700" progId="Excel.Sheet.12">
                  <p:embed/>
                </p:oleObj>
              </mc:Choice>
              <mc:Fallback>
                <p:oleObj name="Worksheet" r:id="rId2" imgW="5384800" imgH="33147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346200" y="1511528"/>
                        <a:ext cx="7886700" cy="4854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FD7D5CD-320C-A559-2930-CE377715E296}"/>
              </a:ext>
            </a:extLst>
          </p:cNvPr>
          <p:cNvSpPr/>
          <p:nvPr/>
        </p:nvSpPr>
        <p:spPr>
          <a:xfrm>
            <a:off x="7970104" y="1003551"/>
            <a:ext cx="1377798" cy="3446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(</a:t>
            </a:r>
            <a:r>
              <a:rPr lang="en-US" b="1" dirty="0" err="1">
                <a:solidFill>
                  <a:schemeClr val="tx1"/>
                </a:solidFill>
              </a:rPr>
              <a:t>Rs.in</a:t>
            </a:r>
            <a:r>
              <a:rPr lang="en-US" b="1" dirty="0">
                <a:solidFill>
                  <a:schemeClr val="tx1"/>
                </a:solidFill>
              </a:rPr>
              <a:t> Crore)</a:t>
            </a:r>
          </a:p>
        </p:txBody>
      </p:sp>
    </p:spTree>
  </p:cSld>
  <p:clrMapOvr>
    <a:masterClrMapping/>
  </p:clrMapOvr>
  <p:transition spd="slow">
    <p:cover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" name="Chart 1">
                <a:extLst>
                  <a:ext uri="{FF2B5EF4-FFF2-40B4-BE49-F238E27FC236}">
                    <a16:creationId xmlns:a16="http://schemas.microsoft.com/office/drawing/2014/main" id="{EC7F9946-C58C-2E1E-CC8C-3A43D374235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983038012"/>
                  </p:ext>
                </p:extLst>
              </p:nvPr>
            </p:nvGraphicFramePr>
            <p:xfrm>
              <a:off x="89941" y="2716962"/>
              <a:ext cx="5768716" cy="348146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2" name="Chart 1">
                <a:extLst>
                  <a:ext uri="{FF2B5EF4-FFF2-40B4-BE49-F238E27FC236}">
                    <a16:creationId xmlns:a16="http://schemas.microsoft.com/office/drawing/2014/main" id="{EC7F9946-C58C-2E1E-CC8C-3A43D374235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9941" y="2716962"/>
                <a:ext cx="5768716" cy="348146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36052821-026C-973A-B6AF-0E9E6BF09AE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738651803"/>
                  </p:ext>
                </p:extLst>
              </p:nvPr>
            </p:nvGraphicFramePr>
            <p:xfrm>
              <a:off x="6095999" y="2716962"/>
              <a:ext cx="5768716" cy="348146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36052821-026C-973A-B6AF-0E9E6BF09AE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095999" y="2716962"/>
                <a:ext cx="5768716" cy="3481466"/>
              </a:xfrm>
              <a:prstGeom prst="rect">
                <a:avLst/>
              </a:prstGeom>
            </p:spPr>
          </p:pic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6B71DF72-97DA-190C-9283-9477AA346BC5}"/>
              </a:ext>
            </a:extLst>
          </p:cNvPr>
          <p:cNvSpPr txBox="1"/>
          <p:nvPr/>
        </p:nvSpPr>
        <p:spPr>
          <a:xfrm>
            <a:off x="201303" y="966373"/>
            <a:ext cx="8848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alled Capacity (MW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A74355-A867-BEB4-A51C-7E33371650AF}"/>
              </a:ext>
            </a:extLst>
          </p:cNvPr>
          <p:cNvSpPr/>
          <p:nvPr/>
        </p:nvSpPr>
        <p:spPr>
          <a:xfrm>
            <a:off x="1268413" y="1042067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50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D0A46B-4B78-B1EB-C7AF-90FDEC7E8DCB}"/>
              </a:ext>
            </a:extLst>
          </p:cNvPr>
          <p:cNvSpPr/>
          <p:nvPr/>
        </p:nvSpPr>
        <p:spPr>
          <a:xfrm>
            <a:off x="2476500" y="1042067"/>
            <a:ext cx="416432" cy="217945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87C59E-9BFD-7D09-72A5-A7D815519441}"/>
              </a:ext>
            </a:extLst>
          </p:cNvPr>
          <p:cNvSpPr/>
          <p:nvPr/>
        </p:nvSpPr>
        <p:spPr>
          <a:xfrm>
            <a:off x="3725863" y="1042067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F52BFD-2DCE-1433-1C78-E15DF0CFFCE7}"/>
              </a:ext>
            </a:extLst>
          </p:cNvPr>
          <p:cNvSpPr txBox="1"/>
          <p:nvPr/>
        </p:nvSpPr>
        <p:spPr>
          <a:xfrm>
            <a:off x="201303" y="1528898"/>
            <a:ext cx="8848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wer Generation (MU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8B2D57-4005-F6EB-E854-E0C70A4A04FA}"/>
              </a:ext>
            </a:extLst>
          </p:cNvPr>
          <p:cNvSpPr/>
          <p:nvPr/>
        </p:nvSpPr>
        <p:spPr>
          <a:xfrm>
            <a:off x="1268413" y="1632635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7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66CBED-44BC-CB0C-862D-26852FC8C3B3}"/>
              </a:ext>
            </a:extLst>
          </p:cNvPr>
          <p:cNvSpPr/>
          <p:nvPr/>
        </p:nvSpPr>
        <p:spPr>
          <a:xfrm>
            <a:off x="2497138" y="1632635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6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7BAE2-737B-F298-372D-DDD79F6511BE}"/>
              </a:ext>
            </a:extLst>
          </p:cNvPr>
          <p:cNvSpPr/>
          <p:nvPr/>
        </p:nvSpPr>
        <p:spPr>
          <a:xfrm>
            <a:off x="3725863" y="1632635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000000"/>
                </a:solidFill>
                <a:latin typeface="Calibri"/>
              </a:rPr>
              <a:t>4.9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BF2964F-C247-F778-34C0-1E341B972FCF}"/>
              </a:ext>
            </a:extLst>
          </p:cNvPr>
          <p:cNvSpPr/>
          <p:nvPr/>
        </p:nvSpPr>
        <p:spPr>
          <a:xfrm>
            <a:off x="6469856" y="1042067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50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D7D53C-5155-3A47-A4BF-9CAC3223E404}"/>
              </a:ext>
            </a:extLst>
          </p:cNvPr>
          <p:cNvSpPr/>
          <p:nvPr/>
        </p:nvSpPr>
        <p:spPr>
          <a:xfrm>
            <a:off x="7677943" y="1042067"/>
            <a:ext cx="416432" cy="217945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A8284F1-15EA-ABB8-0DB1-2F74D60088CE}"/>
              </a:ext>
            </a:extLst>
          </p:cNvPr>
          <p:cNvSpPr/>
          <p:nvPr/>
        </p:nvSpPr>
        <p:spPr>
          <a:xfrm>
            <a:off x="8927306" y="1042067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0761541-A972-6D03-4E57-B0D0C9E32D6E}"/>
              </a:ext>
            </a:extLst>
          </p:cNvPr>
          <p:cNvSpPr/>
          <p:nvPr/>
        </p:nvSpPr>
        <p:spPr>
          <a:xfrm>
            <a:off x="6469856" y="1632635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1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08B610B-CE33-FB6C-EAC2-4D2BD7C03F3D}"/>
              </a:ext>
            </a:extLst>
          </p:cNvPr>
          <p:cNvSpPr/>
          <p:nvPr/>
        </p:nvSpPr>
        <p:spPr>
          <a:xfrm>
            <a:off x="7698581" y="1632635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000000"/>
                </a:solidFill>
                <a:latin typeface="Calibri"/>
              </a:rPr>
              <a:t>25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A4EFD8-1974-F3F1-9CF2-717D9BA0B3C0}"/>
              </a:ext>
            </a:extLst>
          </p:cNvPr>
          <p:cNvSpPr/>
          <p:nvPr/>
        </p:nvSpPr>
        <p:spPr>
          <a:xfrm>
            <a:off x="8927306" y="1632635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9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95A098-C017-4FB4-D63D-7083641B95DE}"/>
              </a:ext>
            </a:extLst>
          </p:cNvPr>
          <p:cNvSpPr txBox="1"/>
          <p:nvPr/>
        </p:nvSpPr>
        <p:spPr>
          <a:xfrm>
            <a:off x="193041" y="2229923"/>
            <a:ext cx="88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F / CU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7CA9CD3-F7A4-85F6-4D8F-0BF633AFC77D}"/>
              </a:ext>
            </a:extLst>
          </p:cNvPr>
          <p:cNvSpPr/>
          <p:nvPr/>
        </p:nvSpPr>
        <p:spPr>
          <a:xfrm>
            <a:off x="1285496" y="2232946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2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37BB774-238D-4117-54FC-507DA4A15994}"/>
              </a:ext>
            </a:extLst>
          </p:cNvPr>
          <p:cNvSpPr/>
          <p:nvPr/>
        </p:nvSpPr>
        <p:spPr>
          <a:xfrm>
            <a:off x="2514221" y="2232946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9EB93C1-3A8E-5876-2451-42DCBF91CC0F}"/>
              </a:ext>
            </a:extLst>
          </p:cNvPr>
          <p:cNvSpPr/>
          <p:nvPr/>
        </p:nvSpPr>
        <p:spPr>
          <a:xfrm>
            <a:off x="3742946" y="2232946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000000"/>
                </a:solidFill>
                <a:latin typeface="Calibri"/>
              </a:rPr>
              <a:t>1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15F402-FF3D-020B-85E4-64DDE088419A}"/>
              </a:ext>
            </a:extLst>
          </p:cNvPr>
          <p:cNvSpPr/>
          <p:nvPr/>
        </p:nvSpPr>
        <p:spPr>
          <a:xfrm>
            <a:off x="6486939" y="2232946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7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E1A6406-E253-16F0-651C-0FF67B673929}"/>
              </a:ext>
            </a:extLst>
          </p:cNvPr>
          <p:cNvSpPr/>
          <p:nvPr/>
        </p:nvSpPr>
        <p:spPr>
          <a:xfrm>
            <a:off x="7715664" y="2232946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9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71BF1C-6771-BC66-D60E-C9506B9CBBD7}"/>
              </a:ext>
            </a:extLst>
          </p:cNvPr>
          <p:cNvSpPr/>
          <p:nvPr/>
        </p:nvSpPr>
        <p:spPr>
          <a:xfrm>
            <a:off x="8944389" y="2232946"/>
            <a:ext cx="386844" cy="21794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05AC9FF-945F-70EC-1A67-4DBCD773562B}"/>
              </a:ext>
            </a:extLst>
          </p:cNvPr>
          <p:cNvSpPr/>
          <p:nvPr/>
        </p:nvSpPr>
        <p:spPr>
          <a:xfrm>
            <a:off x="1742303" y="1"/>
            <a:ext cx="79206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Project-wise Sales Analysis – Power</a:t>
            </a:r>
            <a:br>
              <a:rPr lang="en-US" sz="2400" b="1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(For the Nine Months ended 31</a:t>
            </a:r>
            <a:r>
              <a:rPr lang="en-US" sz="2400" b="1" baseline="30000" dirty="0">
                <a:solidFill>
                  <a:schemeClr val="bg1"/>
                </a:solidFill>
                <a:cs typeface="Calibri" pitchFamily="34" charset="0"/>
              </a:rPr>
              <a:t>st</a:t>
            </a: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 December,2023)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4E90201-D7F1-A8BB-8363-792151205631}"/>
              </a:ext>
            </a:extLst>
          </p:cNvPr>
          <p:cNvSpPr/>
          <p:nvPr/>
        </p:nvSpPr>
        <p:spPr>
          <a:xfrm rot="16200000">
            <a:off x="-203148" y="4483415"/>
            <a:ext cx="686902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000000"/>
                </a:solidFill>
                <a:latin typeface="Calibri"/>
              </a:rPr>
              <a:t>Rs. In Cr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9582557-690B-AF71-24D3-B78E58406630}"/>
              </a:ext>
            </a:extLst>
          </p:cNvPr>
          <p:cNvSpPr/>
          <p:nvPr/>
        </p:nvSpPr>
        <p:spPr>
          <a:xfrm rot="16200000">
            <a:off x="5752548" y="4378484"/>
            <a:ext cx="686902" cy="280606"/>
          </a:xfrm>
          <a:prstGeom prst="rect">
            <a:avLst/>
          </a:prstGeom>
          <a:noFill/>
          <a:ln w="12700" cap="flat" cmpd="sng" algn="ctr">
            <a:solidFill>
              <a:srgbClr val="2744A0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rgbClr val="000000"/>
                </a:solidFill>
                <a:latin typeface="Calibri"/>
              </a:rPr>
              <a:t>Rs. In Cr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0628190"/>
      </p:ext>
    </p:extLst>
  </p:cSld>
  <p:clrMapOvr>
    <a:masterClrMapping/>
  </p:clrMapOvr>
  <p:transition spd="slow">
    <p:cover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42303" y="1"/>
            <a:ext cx="79206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Project-wise Sales Analysis – Power</a:t>
            </a:r>
            <a:br>
              <a:rPr lang="en-US" sz="2400" b="1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(For the Nine Months ended 31</a:t>
            </a:r>
            <a:r>
              <a:rPr lang="en-US" sz="2400" b="1" baseline="30000" dirty="0">
                <a:solidFill>
                  <a:schemeClr val="bg1"/>
                </a:solidFill>
                <a:cs typeface="Calibri" pitchFamily="34" charset="0"/>
              </a:rPr>
              <a:t>st</a:t>
            </a: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 December,2023)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B7C93B7-F354-FE28-A97C-D4AA071FBC60}"/>
              </a:ext>
            </a:extLst>
          </p:cNvPr>
          <p:cNvSpPr/>
          <p:nvPr/>
        </p:nvSpPr>
        <p:spPr>
          <a:xfrm>
            <a:off x="9028450" y="1337187"/>
            <a:ext cx="1377798" cy="3446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(</a:t>
            </a:r>
            <a:r>
              <a:rPr lang="en-US" b="1" dirty="0" err="1">
                <a:solidFill>
                  <a:schemeClr val="tx1"/>
                </a:solidFill>
              </a:rPr>
              <a:t>Rs.in</a:t>
            </a:r>
            <a:r>
              <a:rPr lang="en-US" b="1" dirty="0">
                <a:solidFill>
                  <a:schemeClr val="tx1"/>
                </a:solidFill>
              </a:rPr>
              <a:t> Crore)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7BD84AAA-C269-0CA5-2283-DB7ED8A19ED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41805121"/>
              </p:ext>
            </p:extLst>
          </p:nvPr>
        </p:nvGraphicFramePr>
        <p:xfrm>
          <a:off x="1276350" y="1706563"/>
          <a:ext cx="9639300" cy="3441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9639300" imgH="3441700" progId="Excel.Sheet.12">
                  <p:embed/>
                </p:oleObj>
              </mc:Choice>
              <mc:Fallback>
                <p:oleObj name="Worksheet" r:id="rId2" imgW="9639300" imgH="34417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6350" y="1706563"/>
                        <a:ext cx="9639300" cy="3441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slow">
    <p:cover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ECA29E8-C074-93A4-D93C-AE0A4DA66C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639FD3-CFCD-ADA4-B81B-58BE47C511F9}"/>
              </a:ext>
            </a:extLst>
          </p:cNvPr>
          <p:cNvSpPr txBox="1"/>
          <p:nvPr/>
        </p:nvSpPr>
        <p:spPr>
          <a:xfrm>
            <a:off x="1408670" y="2612025"/>
            <a:ext cx="662322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6000" b="1" dirty="0">
                <a:solidFill>
                  <a:schemeClr val="bg1"/>
                </a:solidFill>
              </a:rPr>
              <a:t>Segment-wise Performa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3DC11F-30E8-A373-D4B8-FFE56B65BF8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6"/>
          <a:stretch/>
        </p:blipFill>
        <p:spPr>
          <a:xfrm>
            <a:off x="1410197" y="2029028"/>
            <a:ext cx="771844" cy="76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392805"/>
      </p:ext>
    </p:extLst>
  </p:cSld>
  <p:clrMapOvr>
    <a:masterClrMapping/>
  </p:clrMapOvr>
  <p:transition spd="slow">
    <p:cover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977080" y="24713"/>
            <a:ext cx="794539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3"/>
              </a:buClr>
              <a:defRPr/>
            </a:pP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Segment-wise Performance 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3"/>
              </a:buClr>
              <a:defRPr/>
            </a:pP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 Up to Nine Months ended 31</a:t>
            </a:r>
            <a:r>
              <a:rPr lang="en-US" sz="2400" b="1" baseline="30000" dirty="0">
                <a:solidFill>
                  <a:schemeClr val="bg1"/>
                </a:solidFill>
                <a:cs typeface="Calibri" pitchFamily="34" charset="0"/>
              </a:rPr>
              <a:t>st</a:t>
            </a: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 December,2023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5FE39565-40D5-1D19-718E-5A4EAF01E48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6448768"/>
              </p:ext>
            </p:extLst>
          </p:nvPr>
        </p:nvGraphicFramePr>
        <p:xfrm>
          <a:off x="2061958" y="2231187"/>
          <a:ext cx="8438231" cy="28134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705600" imgH="2413000" progId="Excel.Sheet.12">
                  <p:embed/>
                </p:oleObj>
              </mc:Choice>
              <mc:Fallback>
                <p:oleObj name="Worksheet" r:id="rId2" imgW="6705600" imgH="24130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061958" y="2231187"/>
                        <a:ext cx="8438231" cy="28134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629FA1B-BD43-BBCF-57BE-16E19C331828}"/>
              </a:ext>
            </a:extLst>
          </p:cNvPr>
          <p:cNvSpPr/>
          <p:nvPr/>
        </p:nvSpPr>
        <p:spPr>
          <a:xfrm>
            <a:off x="9018176" y="1686503"/>
            <a:ext cx="1377798" cy="3446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(</a:t>
            </a:r>
            <a:r>
              <a:rPr lang="en-US" b="1" dirty="0" err="1">
                <a:solidFill>
                  <a:schemeClr val="tx1"/>
                </a:solidFill>
              </a:rPr>
              <a:t>Rs.in</a:t>
            </a:r>
            <a:r>
              <a:rPr lang="en-US" b="1" dirty="0">
                <a:solidFill>
                  <a:schemeClr val="tx1"/>
                </a:solidFill>
              </a:rPr>
              <a:t> Crore)</a:t>
            </a:r>
          </a:p>
        </p:txBody>
      </p:sp>
    </p:spTree>
  </p:cSld>
  <p:clrMapOvr>
    <a:masterClrMapping/>
  </p:clrMapOvr>
  <p:transition spd="slow">
    <p:cover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1BBD60D-335B-E362-E7C4-FBC94C8C3F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4039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37820E-ACA4-355C-A70A-311436A624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5772" y="5980282"/>
            <a:ext cx="815755" cy="24060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23A69BA-816B-9B77-3BCC-770FB3C6EB53}"/>
              </a:ext>
            </a:extLst>
          </p:cNvPr>
          <p:cNvSpPr txBox="1"/>
          <p:nvPr/>
        </p:nvSpPr>
        <p:spPr>
          <a:xfrm>
            <a:off x="8115996" y="5928391"/>
            <a:ext cx="18360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www.gmdcltd.co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FA27426-7F54-3EAC-76ED-5277D5CD9E8F}"/>
              </a:ext>
            </a:extLst>
          </p:cNvPr>
          <p:cNvGrpSpPr/>
          <p:nvPr/>
        </p:nvGrpSpPr>
        <p:grpSpPr>
          <a:xfrm>
            <a:off x="1445741" y="1894438"/>
            <a:ext cx="7883610" cy="2198167"/>
            <a:chOff x="806535" y="1832294"/>
            <a:chExt cx="8099092" cy="2198167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71A40B4-C493-5133-484C-2D9AF881B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6535" y="1832294"/>
              <a:ext cx="1768886" cy="2198167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49EC86D-5DD5-8516-1315-515A6A530C8F}"/>
                </a:ext>
              </a:extLst>
            </p:cNvPr>
            <p:cNvSpPr txBox="1"/>
            <p:nvPr/>
          </p:nvSpPr>
          <p:spPr>
            <a:xfrm>
              <a:off x="2811025" y="1959279"/>
              <a:ext cx="6094602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6000" b="1" dirty="0">
                  <a:solidFill>
                    <a:srgbClr val="816D52"/>
                  </a:solidFill>
                </a:rPr>
                <a:t>T</a:t>
              </a:r>
              <a:r>
                <a:rPr lang="en-IN" sz="6000" b="1" dirty="0">
                  <a:solidFill>
                    <a:srgbClr val="816D52"/>
                  </a:solidFill>
                </a:rPr>
                <a:t>hank You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F14F020-40E9-AD92-4959-DF4E6F9722B0}"/>
                </a:ext>
              </a:extLst>
            </p:cNvPr>
            <p:cNvCxnSpPr>
              <a:cxnSpLocks/>
            </p:cNvCxnSpPr>
            <p:nvPr/>
          </p:nvCxnSpPr>
          <p:spPr>
            <a:xfrm>
              <a:off x="2934763" y="3123799"/>
              <a:ext cx="4238394" cy="0"/>
            </a:xfrm>
            <a:prstGeom prst="line">
              <a:avLst/>
            </a:prstGeom>
            <a:ln w="12700">
              <a:solidFill>
                <a:srgbClr val="816D5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1AC76C51-1624-7BBB-4947-0FD03E904345}"/>
              </a:ext>
            </a:extLst>
          </p:cNvPr>
          <p:cNvSpPr txBox="1"/>
          <p:nvPr/>
        </p:nvSpPr>
        <p:spPr>
          <a:xfrm>
            <a:off x="1390197" y="5725297"/>
            <a:ext cx="609460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 dirty="0">
                <a:solidFill>
                  <a:schemeClr val="bg1"/>
                </a:solidFill>
              </a:rPr>
              <a:t>Gujarat Mineral Development Corporation Ltd.</a:t>
            </a:r>
          </a:p>
          <a:p>
            <a:r>
              <a:rPr lang="en-IN" dirty="0">
                <a:solidFill>
                  <a:schemeClr val="bg1"/>
                </a:solidFill>
              </a:rPr>
              <a:t>(A Government of Gujarat Enterprise)</a:t>
            </a:r>
          </a:p>
        </p:txBody>
      </p:sp>
    </p:spTree>
    <p:extLst>
      <p:ext uri="{BB962C8B-B14F-4D97-AF65-F5344CB8AC3E}">
        <p14:creationId xmlns:p14="http://schemas.microsoft.com/office/powerpoint/2010/main" val="3106240696"/>
      </p:ext>
    </p:extLst>
  </p:cSld>
  <p:clrMapOvr>
    <a:masterClrMapping/>
  </p:clrMapOvr>
  <p:transition spd="slow">
    <p:cover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235D022-9EC4-6686-3C94-C7DCF0A65D28}"/>
              </a:ext>
            </a:extLst>
          </p:cNvPr>
          <p:cNvSpPr txBox="1"/>
          <p:nvPr/>
        </p:nvSpPr>
        <p:spPr>
          <a:xfrm>
            <a:off x="2372496" y="208344"/>
            <a:ext cx="21300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3600" b="1" dirty="0">
                <a:solidFill>
                  <a:schemeClr val="bg1"/>
                </a:solidFill>
              </a:rPr>
              <a:t>INDE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E417212-41BF-7717-0840-F25E72BE87C9}"/>
              </a:ext>
            </a:extLst>
          </p:cNvPr>
          <p:cNvSpPr txBox="1"/>
          <p:nvPr/>
        </p:nvSpPr>
        <p:spPr>
          <a:xfrm>
            <a:off x="2267741" y="1744035"/>
            <a:ext cx="7694388" cy="643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3200" b="1" dirty="0"/>
              <a:t> Performance Highlights</a:t>
            </a:r>
            <a:endParaRPr lang="en-IN" sz="3200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412405-E5EF-BA6E-819E-8BFC3088FF0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6"/>
          <a:stretch/>
        </p:blipFill>
        <p:spPr>
          <a:xfrm>
            <a:off x="1805409" y="1860578"/>
            <a:ext cx="412610" cy="4108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3E44BED-1F35-D982-E679-1C5CB04320D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00" r="35626"/>
          <a:stretch/>
        </p:blipFill>
        <p:spPr>
          <a:xfrm>
            <a:off x="1774376" y="2513057"/>
            <a:ext cx="399368" cy="4108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0E3EB3-E402-8DF7-2539-816ADDD12E2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6"/>
          <a:stretch/>
        </p:blipFill>
        <p:spPr>
          <a:xfrm>
            <a:off x="1761134" y="3165537"/>
            <a:ext cx="412610" cy="41080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BE1F314-248D-4E9C-2017-311F75D04F78}"/>
              </a:ext>
            </a:extLst>
          </p:cNvPr>
          <p:cNvSpPr txBox="1"/>
          <p:nvPr/>
        </p:nvSpPr>
        <p:spPr>
          <a:xfrm>
            <a:off x="2256831" y="2985581"/>
            <a:ext cx="8989240" cy="643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3200" b="1" dirty="0"/>
              <a:t>Segment-wise Performa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957A96-212E-060D-F55A-5D1C4BAD741D}"/>
              </a:ext>
            </a:extLst>
          </p:cNvPr>
          <p:cNvSpPr txBox="1"/>
          <p:nvPr/>
        </p:nvSpPr>
        <p:spPr>
          <a:xfrm>
            <a:off x="2334645" y="2365225"/>
            <a:ext cx="8312336" cy="643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3200" b="1" dirty="0"/>
              <a:t>Financial Results </a:t>
            </a:r>
          </a:p>
        </p:txBody>
      </p:sp>
    </p:spTree>
    <p:extLst>
      <p:ext uri="{BB962C8B-B14F-4D97-AF65-F5344CB8AC3E}">
        <p14:creationId xmlns:p14="http://schemas.microsoft.com/office/powerpoint/2010/main" val="1609266347"/>
      </p:ext>
    </p:extLst>
  </p:cSld>
  <p:clrMapOvr>
    <a:masterClrMapping/>
  </p:clrMapOvr>
  <p:transition spd="slow">
    <p:cover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3DC3546-CC33-0B7D-B7F8-529215B762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754DCF-AE05-2152-E8FD-E1FFD0A87C7C}"/>
              </a:ext>
            </a:extLst>
          </p:cNvPr>
          <p:cNvSpPr txBox="1"/>
          <p:nvPr/>
        </p:nvSpPr>
        <p:spPr>
          <a:xfrm>
            <a:off x="1643448" y="2684369"/>
            <a:ext cx="6326659" cy="19205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6600" b="1" dirty="0">
                <a:solidFill>
                  <a:schemeClr val="bg1"/>
                </a:solidFill>
              </a:rPr>
              <a:t>Performance Highligh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5A93EA-F908-81FE-E4D2-AFE588FA44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6"/>
          <a:stretch/>
        </p:blipFill>
        <p:spPr>
          <a:xfrm>
            <a:off x="1685460" y="1745245"/>
            <a:ext cx="771844" cy="76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135894"/>
      </p:ext>
    </p:extLst>
  </p:cSld>
  <p:clrMapOvr>
    <a:masterClrMapping/>
  </p:clrMapOvr>
  <p:transition spd="slow">
    <p:cover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F9C2ECE9-10EA-D193-8E5D-6008E4EF93A3}"/>
              </a:ext>
            </a:extLst>
          </p:cNvPr>
          <p:cNvSpPr txBox="1"/>
          <p:nvPr/>
        </p:nvSpPr>
        <p:spPr>
          <a:xfrm>
            <a:off x="1412110" y="285289"/>
            <a:ext cx="7571251" cy="6093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800" b="1" dirty="0">
                <a:solidFill>
                  <a:schemeClr val="bg1"/>
                </a:solidFill>
              </a:rPr>
              <a:t>Nine Months/ Quarterly Performance Highligh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412405-E5EF-BA6E-819E-8BFC3088FF0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6"/>
          <a:stretch/>
        </p:blipFill>
        <p:spPr>
          <a:xfrm>
            <a:off x="1549382" y="1099113"/>
            <a:ext cx="412610" cy="41080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69D574-EA84-3D9B-E314-61BA65CF05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00" r="35626"/>
          <a:stretch/>
        </p:blipFill>
        <p:spPr>
          <a:xfrm>
            <a:off x="1558610" y="1672865"/>
            <a:ext cx="399368" cy="410807"/>
          </a:xfrm>
          <a:prstGeom prst="rect">
            <a:avLst/>
          </a:prstGeom>
        </p:spPr>
      </p:pic>
      <p:sp>
        <p:nvSpPr>
          <p:cNvPr id="12" name="Content Placeholder 2"/>
          <p:cNvSpPr txBox="1">
            <a:spLocks/>
          </p:cNvSpPr>
          <p:nvPr/>
        </p:nvSpPr>
        <p:spPr>
          <a:xfrm>
            <a:off x="1137315" y="908962"/>
            <a:ext cx="9144000" cy="719317"/>
          </a:xfrm>
          <a:prstGeom prst="rect">
            <a:avLst/>
          </a:prstGeom>
        </p:spPr>
        <p:txBody>
          <a:bodyPr>
            <a:no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tabLst/>
              <a:defRPr/>
            </a:pPr>
            <a:r>
              <a:rPr kumimoji="1" lang="en-US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		</a:t>
            </a:r>
            <a:r>
              <a:rPr kumimoji="1" lang="en-US" b="1" dirty="0">
                <a:latin typeface="+mj-lt"/>
                <a:cs typeface="Arial" charset="0"/>
              </a:rPr>
              <a:t>2nd Highest Turnover of Rs. 1713 Cr. for Nine Months</a:t>
            </a:r>
            <a:endParaRPr kumimoji="1" lang="en-US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BB2AF82-D92E-687C-2D75-61F6B764594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6"/>
          <a:stretch/>
        </p:blipFill>
        <p:spPr>
          <a:xfrm>
            <a:off x="1569308" y="2278537"/>
            <a:ext cx="407773" cy="3830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E21CF8D-1538-616F-32EA-E97756DA880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00" r="35626"/>
          <a:stretch/>
        </p:blipFill>
        <p:spPr>
          <a:xfrm>
            <a:off x="1556887" y="2819358"/>
            <a:ext cx="431460" cy="3954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BB2AF82-D92E-687C-2D75-61F6B764594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6"/>
          <a:stretch/>
        </p:blipFill>
        <p:spPr>
          <a:xfrm>
            <a:off x="1585781" y="3511116"/>
            <a:ext cx="407773" cy="38306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AFB2F3-0B9D-23CE-B1A4-FFC24682432F}"/>
              </a:ext>
            </a:extLst>
          </p:cNvPr>
          <p:cNvSpPr txBox="1">
            <a:spLocks/>
          </p:cNvSpPr>
          <p:nvPr/>
        </p:nvSpPr>
        <p:spPr>
          <a:xfrm>
            <a:off x="1089105" y="1488589"/>
            <a:ext cx="9144000" cy="719317"/>
          </a:xfrm>
          <a:prstGeom prst="rect">
            <a:avLst/>
          </a:prstGeom>
        </p:spPr>
        <p:txBody>
          <a:bodyPr>
            <a:no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tabLst/>
              <a:defRPr/>
            </a:pPr>
            <a:r>
              <a:rPr kumimoji="1" lang="en-US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		</a:t>
            </a:r>
            <a:r>
              <a:rPr kumimoji="1" lang="en-US" b="1" dirty="0">
                <a:latin typeface="+mj-lt"/>
                <a:cs typeface="Arial" charset="0"/>
              </a:rPr>
              <a:t>3</a:t>
            </a:r>
            <a:r>
              <a:rPr kumimoji="1" lang="en-US" b="1" baseline="30000" dirty="0">
                <a:latin typeface="+mj-lt"/>
                <a:cs typeface="Arial" charset="0"/>
              </a:rPr>
              <a:t>rd</a:t>
            </a:r>
            <a:r>
              <a:rPr kumimoji="1" lang="en-US" b="1" dirty="0">
                <a:latin typeface="+mj-lt"/>
                <a:cs typeface="Arial" charset="0"/>
              </a:rPr>
              <a:t> Highest Profit Before Tax of Rs. 560 Cr. for Nine Months</a:t>
            </a:r>
            <a:endParaRPr kumimoji="1" lang="en-US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11AAAA3-E055-9464-112F-3352C20EC447}"/>
              </a:ext>
            </a:extLst>
          </p:cNvPr>
          <p:cNvSpPr txBox="1">
            <a:spLocks/>
          </p:cNvSpPr>
          <p:nvPr/>
        </p:nvSpPr>
        <p:spPr>
          <a:xfrm>
            <a:off x="1085548" y="2085105"/>
            <a:ext cx="9144000" cy="719317"/>
          </a:xfrm>
          <a:prstGeom prst="rect">
            <a:avLst/>
          </a:prstGeom>
        </p:spPr>
        <p:txBody>
          <a:bodyPr>
            <a:no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tabLst/>
              <a:defRPr/>
            </a:pPr>
            <a:r>
              <a:rPr kumimoji="1" lang="en-US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		</a:t>
            </a: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charset="0"/>
              </a:rPr>
              <a:t>3</a:t>
            </a:r>
            <a:r>
              <a:rPr kumimoji="1" lang="en-US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charset="0"/>
              </a:rPr>
              <a:t>rd</a:t>
            </a: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charset="0"/>
              </a:rPr>
              <a:t> Highest Turnover Of Rs. 564 Cr. for </a:t>
            </a:r>
            <a:r>
              <a:rPr kumimoji="1" lang="en-US" b="1" dirty="0">
                <a:latin typeface="+mj-lt"/>
                <a:cs typeface="Arial" charset="0"/>
              </a:rPr>
              <a:t>3</a:t>
            </a:r>
            <a:r>
              <a:rPr kumimoji="1" lang="en-US" b="1" baseline="30000" dirty="0">
                <a:latin typeface="+mj-lt"/>
                <a:cs typeface="Arial" charset="0"/>
              </a:rPr>
              <a:t>rd</a:t>
            </a:r>
            <a:r>
              <a:rPr kumimoji="1" lang="en-US" b="1" dirty="0">
                <a:latin typeface="+mj-lt"/>
                <a:cs typeface="Arial" charset="0"/>
              </a:rPr>
              <a:t> Quarter</a:t>
            </a:r>
            <a:endParaRPr kumimoji="1" lang="en-US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0BEA8B8-C885-CE83-0B0D-67C8D3282CCA}"/>
              </a:ext>
            </a:extLst>
          </p:cNvPr>
          <p:cNvSpPr txBox="1">
            <a:spLocks/>
          </p:cNvSpPr>
          <p:nvPr/>
        </p:nvSpPr>
        <p:spPr>
          <a:xfrm>
            <a:off x="1285090" y="3319092"/>
            <a:ext cx="9144000" cy="719317"/>
          </a:xfrm>
          <a:prstGeom prst="rect">
            <a:avLst/>
          </a:prstGeom>
        </p:spPr>
        <p:txBody>
          <a:bodyPr>
            <a:no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tabLst/>
              <a:defRPr/>
            </a:pPr>
            <a:endParaRPr kumimoji="1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 2"/>
              <a:buChar char=""/>
              <a:tabLst/>
              <a:defRPr/>
            </a:pPr>
            <a:endParaRPr kumimoji="1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CFD1496-9D37-7A9E-043E-571D7F4CFE69}"/>
              </a:ext>
            </a:extLst>
          </p:cNvPr>
          <p:cNvSpPr txBox="1">
            <a:spLocks/>
          </p:cNvSpPr>
          <p:nvPr/>
        </p:nvSpPr>
        <p:spPr>
          <a:xfrm>
            <a:off x="1151133" y="3322542"/>
            <a:ext cx="10128437" cy="719317"/>
          </a:xfrm>
          <a:prstGeom prst="rect">
            <a:avLst/>
          </a:prstGeom>
        </p:spPr>
        <p:txBody>
          <a:bodyPr>
            <a:no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tabLst/>
              <a:defRPr/>
            </a:pPr>
            <a:r>
              <a:rPr kumimoji="1" lang="en-US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		</a:t>
            </a: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charset="0"/>
              </a:rPr>
              <a:t>Highest Ever share price of Rs. 502.90 per share</a:t>
            </a:r>
            <a:endParaRPr kumimoji="1" lang="en-US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 2"/>
              <a:buChar char=""/>
              <a:tabLst/>
              <a:defRPr/>
            </a:pPr>
            <a:endParaRPr kumimoji="1" lang="en-US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7A6E555-14A5-9E0C-599E-E0FBED76D0AE}"/>
              </a:ext>
            </a:extLst>
          </p:cNvPr>
          <p:cNvSpPr txBox="1">
            <a:spLocks/>
          </p:cNvSpPr>
          <p:nvPr/>
        </p:nvSpPr>
        <p:spPr>
          <a:xfrm>
            <a:off x="1161028" y="3928949"/>
            <a:ext cx="10128437" cy="719317"/>
          </a:xfrm>
          <a:prstGeom prst="rect">
            <a:avLst/>
          </a:prstGeom>
        </p:spPr>
        <p:txBody>
          <a:bodyPr>
            <a:no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tabLst/>
              <a:defRPr/>
            </a:pP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	</a:t>
            </a: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charset="0"/>
              </a:rPr>
              <a:t>	469</a:t>
            </a:r>
            <a:r>
              <a:rPr kumimoji="1" lang="en-US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charset="0"/>
              </a:rPr>
              <a:t>th</a:t>
            </a: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charset="0"/>
              </a:rPr>
              <a:t> rank in India’s fortune 500 Companies </a:t>
            </a: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					</a:t>
            </a:r>
            <a:endParaRPr kumimoji="1" lang="en-US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tabLst/>
              <a:defRPr/>
            </a:pPr>
            <a:endParaRPr kumimoji="1" lang="en-US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87A837D-2F1D-7871-1E41-52268DA1E249}"/>
              </a:ext>
            </a:extLst>
          </p:cNvPr>
          <p:cNvSpPr txBox="1">
            <a:spLocks/>
          </p:cNvSpPr>
          <p:nvPr/>
        </p:nvSpPr>
        <p:spPr>
          <a:xfrm>
            <a:off x="2065623" y="2783923"/>
            <a:ext cx="9896755" cy="719318"/>
          </a:xfrm>
          <a:prstGeom prst="rect">
            <a:avLst/>
          </a:prstGeom>
        </p:spPr>
        <p:txBody>
          <a:bodyPr>
            <a:noAutofit/>
          </a:bodyPr>
          <a:lstStyle/>
          <a:p>
            <a:pPr marL="46038" marR="0" lvl="0" indent="-46038" algn="l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>
                <a:schemeClr val="accent3"/>
              </a:buClr>
              <a:buSzTx/>
              <a:defRPr/>
            </a:pP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charset="0"/>
              </a:rPr>
              <a:t>Market Capitalization zoomed from Rs. 4,664 Cr. to Rs. 12,943 Cr. in one year (31-Dec-2022 to 31- Dec -2023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2FAB03B-309D-F675-89E7-0753CC5C39C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00" r="35626"/>
          <a:stretch/>
        </p:blipFill>
        <p:spPr>
          <a:xfrm>
            <a:off x="1545115" y="4099765"/>
            <a:ext cx="431460" cy="3954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C01E83F-F210-F4FD-7F4C-D47C79F9F9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6"/>
          <a:stretch/>
        </p:blipFill>
        <p:spPr>
          <a:xfrm>
            <a:off x="1553859" y="4613276"/>
            <a:ext cx="412610" cy="4108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9E6B429-AD3C-909E-E583-DC27CC453B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00" r="35626"/>
          <a:stretch/>
        </p:blipFill>
        <p:spPr>
          <a:xfrm>
            <a:off x="1536151" y="5186745"/>
            <a:ext cx="431460" cy="39541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19F5D52-49E6-26CB-0663-0783BA879D43}"/>
              </a:ext>
            </a:extLst>
          </p:cNvPr>
          <p:cNvSpPr txBox="1"/>
          <p:nvPr/>
        </p:nvSpPr>
        <p:spPr>
          <a:xfrm>
            <a:off x="2104464" y="4646896"/>
            <a:ext cx="7230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pproval of mining  plan of </a:t>
            </a:r>
            <a:r>
              <a:rPr lang="en-US" dirty="0" err="1"/>
              <a:t>Damlai</a:t>
            </a:r>
            <a:r>
              <a:rPr lang="en-US" dirty="0"/>
              <a:t> having lignite reserves of 57 million M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9304D1-AD8D-2C04-FE28-B6208ACF475E}"/>
              </a:ext>
            </a:extLst>
          </p:cNvPr>
          <p:cNvSpPr txBox="1"/>
          <p:nvPr/>
        </p:nvSpPr>
        <p:spPr>
          <a:xfrm>
            <a:off x="2075328" y="5155648"/>
            <a:ext cx="81682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pproval of mining  plan of </a:t>
            </a:r>
            <a:r>
              <a:rPr lang="en-US" dirty="0" err="1"/>
              <a:t>Ambadungar</a:t>
            </a:r>
            <a:r>
              <a:rPr lang="en-US" dirty="0"/>
              <a:t> having fluorspar reserves of 4.50 Million MTs</a:t>
            </a:r>
          </a:p>
        </p:txBody>
      </p:sp>
    </p:spTree>
    <p:extLst>
      <p:ext uri="{BB962C8B-B14F-4D97-AF65-F5344CB8AC3E}">
        <p14:creationId xmlns:p14="http://schemas.microsoft.com/office/powerpoint/2010/main" val="4061688481"/>
      </p:ext>
    </p:extLst>
  </p:cSld>
  <p:clrMapOvr>
    <a:masterClrMapping/>
  </p:clrMapOvr>
  <p:transition spd="slow">
    <p:cover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779386" y="-160639"/>
            <a:ext cx="78574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br>
              <a:rPr lang="en-US" sz="2400" b="1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Last Five Years Revenue &amp; PBT Highlights for Nine Months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8CA85C3-142A-A1E4-CA6F-63C05CD73C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5990131"/>
              </p:ext>
            </p:extLst>
          </p:nvPr>
        </p:nvGraphicFramePr>
        <p:xfrm>
          <a:off x="2116476" y="1387011"/>
          <a:ext cx="7972746" cy="4232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85001992"/>
      </p:ext>
    </p:extLst>
  </p:cSld>
  <p:clrMapOvr>
    <a:masterClrMapping/>
  </p:clrMapOvr>
  <p:transition spd="slow">
    <p:cover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779386" y="-160639"/>
            <a:ext cx="78574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br>
              <a:rPr lang="en-US" sz="2400" b="1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Last Five Years Revenue &amp; PBT Highlights for Q-3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E20EEFF-E621-8E60-68CF-8E6D0876FD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5328600"/>
              </p:ext>
            </p:extLst>
          </p:nvPr>
        </p:nvGraphicFramePr>
        <p:xfrm>
          <a:off x="2506531" y="1484555"/>
          <a:ext cx="7347473" cy="4281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8790135"/>
      </p:ext>
    </p:extLst>
  </p:cSld>
  <p:clrMapOvr>
    <a:masterClrMapping/>
  </p:clrMapOvr>
  <p:transition spd="slow">
    <p:cover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ECA29E8-C074-93A4-D93C-AE0A4DA66C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639FD3-CFCD-ADA4-B81B-58BE47C511F9}"/>
              </a:ext>
            </a:extLst>
          </p:cNvPr>
          <p:cNvSpPr txBox="1"/>
          <p:nvPr/>
        </p:nvSpPr>
        <p:spPr>
          <a:xfrm>
            <a:off x="1346885" y="2730843"/>
            <a:ext cx="6610865" cy="1126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6000" b="1" dirty="0">
                <a:solidFill>
                  <a:schemeClr val="bg1"/>
                </a:solidFill>
              </a:rPr>
              <a:t>Financial Resul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B2AF82-D92E-687C-2D75-61F6B764594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6"/>
          <a:stretch/>
        </p:blipFill>
        <p:spPr>
          <a:xfrm>
            <a:off x="1364596" y="2076324"/>
            <a:ext cx="771844" cy="76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920646"/>
      </p:ext>
    </p:extLst>
  </p:cSld>
  <p:clrMapOvr>
    <a:masterClrMapping/>
  </p:clrMapOvr>
  <p:transition spd="slow">
    <p:cover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815308A-BD0E-72B4-C81C-DE45610356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15308A-BD0E-72B4-C81C-DE45610356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" name="Rectangle 131">
            <a:extLst>
              <a:ext uri="{FF2B5EF4-FFF2-40B4-BE49-F238E27FC236}">
                <a16:creationId xmlns:a16="http://schemas.microsoft.com/office/drawing/2014/main" id="{5A85BA3C-89ED-39E7-1082-2FEED2E10710}"/>
              </a:ext>
            </a:extLst>
          </p:cNvPr>
          <p:cNvSpPr/>
          <p:nvPr/>
        </p:nvSpPr>
        <p:spPr>
          <a:xfrm>
            <a:off x="4513463" y="5253832"/>
            <a:ext cx="491232" cy="309561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70C0"/>
                </a:solidFill>
              </a:rPr>
              <a:t>32%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DD595F2-DD53-CD60-9F53-A8D043757E45}"/>
              </a:ext>
            </a:extLst>
          </p:cNvPr>
          <p:cNvSpPr/>
          <p:nvPr/>
        </p:nvSpPr>
        <p:spPr>
          <a:xfrm>
            <a:off x="10285412" y="5244294"/>
            <a:ext cx="504826" cy="419100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70C0"/>
                </a:solidFill>
              </a:rPr>
              <a:t>41%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9D82A78E-D23B-AA3A-347D-0052C1F305DF}"/>
              </a:ext>
            </a:extLst>
          </p:cNvPr>
          <p:cNvSpPr txBox="1"/>
          <p:nvPr/>
        </p:nvSpPr>
        <p:spPr>
          <a:xfrm>
            <a:off x="2681433" y="18030"/>
            <a:ext cx="65985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Financial Results</a:t>
            </a:r>
            <a:br>
              <a:rPr lang="en-US" sz="2400" b="1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For the Nine months ended 31</a:t>
            </a:r>
            <a:r>
              <a:rPr lang="en-US" sz="2400" b="1" baseline="30000" dirty="0">
                <a:solidFill>
                  <a:schemeClr val="bg1"/>
                </a:solidFill>
                <a:cs typeface="Calibri" pitchFamily="34" charset="0"/>
              </a:rPr>
              <a:t>st</a:t>
            </a: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 Dec, 2023</a:t>
            </a:r>
          </a:p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DBC7A9D8-3D55-04C7-19A7-12774EBC72F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8007942"/>
                  </p:ext>
                </p:extLst>
              </p:nvPr>
            </p:nvGraphicFramePr>
            <p:xfrm>
              <a:off x="640079" y="1588499"/>
              <a:ext cx="5408295" cy="406279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DBC7A9D8-3D55-04C7-19A7-12774EBC72F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40079" y="1588499"/>
                <a:ext cx="5408295" cy="406279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E33E324A-3BBF-6092-1E3A-0C81E3202B9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065193863"/>
                  </p:ext>
                </p:extLst>
              </p:nvPr>
            </p:nvGraphicFramePr>
            <p:xfrm>
              <a:off x="6250898" y="1588498"/>
              <a:ext cx="5703326" cy="406279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6" name="Chart 5">
                <a:extLst>
                  <a:ext uri="{FF2B5EF4-FFF2-40B4-BE49-F238E27FC236}">
                    <a16:creationId xmlns:a16="http://schemas.microsoft.com/office/drawing/2014/main" id="{E33E324A-3BBF-6092-1E3A-0C81E3202B9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250898" y="1588498"/>
                <a:ext cx="5703326" cy="406279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222906201"/>
      </p:ext>
    </p:extLst>
  </p:cSld>
  <p:clrMapOvr>
    <a:masterClrMapping/>
  </p:clrMapOvr>
  <p:transition spd="slow">
    <p:cover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681433" y="0"/>
            <a:ext cx="65985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Financial Results</a:t>
            </a:r>
            <a:br>
              <a:rPr lang="en-US" sz="2400" b="1" dirty="0">
                <a:solidFill>
                  <a:schemeClr val="bg1"/>
                </a:solidFill>
                <a:cs typeface="Calibri" pitchFamily="34" charset="0"/>
              </a:rPr>
            </a:b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For the Nine Months ended 31</a:t>
            </a:r>
            <a:r>
              <a:rPr lang="en-US" sz="2400" b="1" baseline="30000" dirty="0">
                <a:solidFill>
                  <a:schemeClr val="bg1"/>
                </a:solidFill>
                <a:cs typeface="Calibri" pitchFamily="34" charset="0"/>
              </a:rPr>
              <a:t>st </a:t>
            </a:r>
            <a:r>
              <a:rPr lang="en-US" sz="2400" b="1" dirty="0">
                <a:solidFill>
                  <a:schemeClr val="bg1"/>
                </a:solidFill>
                <a:cs typeface="Calibri" pitchFamily="34" charset="0"/>
              </a:rPr>
              <a:t>December, 2023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8A3698-CFC9-A1C2-BCB8-BFDD99D1BF9C}"/>
              </a:ext>
            </a:extLst>
          </p:cNvPr>
          <p:cNvSpPr/>
          <p:nvPr/>
        </p:nvSpPr>
        <p:spPr>
          <a:xfrm>
            <a:off x="7258096" y="1028265"/>
            <a:ext cx="1377798" cy="3446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(</a:t>
            </a:r>
            <a:r>
              <a:rPr lang="en-US" b="1" dirty="0" err="1">
                <a:solidFill>
                  <a:schemeClr val="tx1"/>
                </a:solidFill>
              </a:rPr>
              <a:t>Rs.in</a:t>
            </a:r>
            <a:r>
              <a:rPr lang="en-US" b="1" dirty="0">
                <a:solidFill>
                  <a:schemeClr val="tx1"/>
                </a:solidFill>
              </a:rPr>
              <a:t> Crore)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20755484-33F4-1582-BE63-F5E3FC16956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77252262"/>
              </p:ext>
            </p:extLst>
          </p:nvPr>
        </p:nvGraphicFramePr>
        <p:xfrm>
          <a:off x="3400745" y="1434604"/>
          <a:ext cx="5237645" cy="43096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4483100" imgH="3314700" progId="Excel.Sheet.12">
                  <p:embed/>
                </p:oleObj>
              </mc:Choice>
              <mc:Fallback>
                <p:oleObj name="Worksheet" r:id="rId2" imgW="4483100" imgH="33147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400745" y="1434604"/>
                        <a:ext cx="5237645" cy="43096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slow">
    <p:cover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6</TotalTime>
  <Words>464</Words>
  <Application>Microsoft Macintosh PowerPoint</Application>
  <PresentationFormat>Widescreen</PresentationFormat>
  <Paragraphs>107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Wingdings 2</vt:lpstr>
      <vt:lpstr>Office Theme</vt:lpstr>
      <vt:lpstr>think-cell Slide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rshankumar Vala</dc:creator>
  <cp:lastModifiedBy>35</cp:lastModifiedBy>
  <cp:revision>321</cp:revision>
  <cp:lastPrinted>2024-02-06T07:37:09Z</cp:lastPrinted>
  <dcterms:created xsi:type="dcterms:W3CDTF">2022-08-08T06:20:13Z</dcterms:created>
  <dcterms:modified xsi:type="dcterms:W3CDTF">2024-02-09T12:40:08Z</dcterms:modified>
</cp:coreProperties>
</file>